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7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charts/chart2.xml" ContentType="application/vnd.openxmlformats-officedocument.drawingml.chart+xml"/>
  <Override PartName="/ppt/notesSlides/notesSlide8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charts/chart3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295" r:id="rId1"/>
  </p:sldMasterIdLst>
  <p:notesMasterIdLst>
    <p:notesMasterId r:id="rId20"/>
  </p:notesMasterIdLst>
  <p:handoutMasterIdLst>
    <p:handoutMasterId r:id="rId21"/>
  </p:handoutMasterIdLst>
  <p:sldIdLst>
    <p:sldId id="256" r:id="rId2"/>
    <p:sldId id="293" r:id="rId3"/>
    <p:sldId id="306" r:id="rId4"/>
    <p:sldId id="274" r:id="rId5"/>
    <p:sldId id="292" r:id="rId6"/>
    <p:sldId id="297" r:id="rId7"/>
    <p:sldId id="275" r:id="rId8"/>
    <p:sldId id="305" r:id="rId9"/>
    <p:sldId id="301" r:id="rId10"/>
    <p:sldId id="286" r:id="rId11"/>
    <p:sldId id="296" r:id="rId12"/>
    <p:sldId id="284" r:id="rId13"/>
    <p:sldId id="302" r:id="rId14"/>
    <p:sldId id="287" r:id="rId15"/>
    <p:sldId id="303" r:id="rId16"/>
    <p:sldId id="288" r:id="rId17"/>
    <p:sldId id="299" r:id="rId18"/>
    <p:sldId id="300" r:id="rId19"/>
  </p:sldIdLst>
  <p:sldSz cx="9148763" cy="5145088"/>
  <p:notesSz cx="6669088" cy="9928225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1pPr>
    <a:lvl2pPr marL="407947" indent="4920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2pPr>
    <a:lvl3pPr marL="815893" indent="9841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3pPr>
    <a:lvl4pPr marL="1223840" indent="14762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4pPr>
    <a:lvl5pPr marL="1631786" indent="19683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5pPr>
    <a:lvl6pPr marL="2285771" algn="l" defTabSz="914309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6pPr>
    <a:lvl7pPr marL="2742925" algn="l" defTabSz="914309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7pPr>
    <a:lvl8pPr marL="3200080" algn="l" defTabSz="914309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8pPr>
    <a:lvl9pPr marL="3657233" algn="l" defTabSz="914309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21">
          <p15:clr>
            <a:srgbClr val="A4A3A4"/>
          </p15:clr>
        </p15:guide>
        <p15:guide id="2" orient="horz" pos="260">
          <p15:clr>
            <a:srgbClr val="A4A3A4"/>
          </p15:clr>
        </p15:guide>
        <p15:guide id="3" orient="horz" pos="2034">
          <p15:clr>
            <a:srgbClr val="A4A3A4"/>
          </p15:clr>
        </p15:guide>
        <p15:guide id="4" orient="horz" pos="630">
          <p15:clr>
            <a:srgbClr val="A4A3A4"/>
          </p15:clr>
        </p15:guide>
        <p15:guide id="5" orient="horz" pos="2531">
          <p15:clr>
            <a:srgbClr val="A4A3A4"/>
          </p15:clr>
        </p15:guide>
        <p15:guide id="6" orient="horz" pos="2828">
          <p15:clr>
            <a:srgbClr val="A4A3A4"/>
          </p15:clr>
        </p15:guide>
        <p15:guide id="7" orient="horz" pos="3128">
          <p15:clr>
            <a:srgbClr val="A4A3A4"/>
          </p15:clr>
        </p15:guide>
        <p15:guide id="8" orient="horz" pos="3035">
          <p15:clr>
            <a:srgbClr val="A4A3A4"/>
          </p15:clr>
        </p15:guide>
        <p15:guide id="9" pos="5570">
          <p15:clr>
            <a:srgbClr val="A4A3A4"/>
          </p15:clr>
        </p15:guide>
        <p15:guide id="10" pos="4748">
          <p15:clr>
            <a:srgbClr val="A4A3A4"/>
          </p15:clr>
        </p15:guide>
        <p15:guide id="11" pos="3537">
          <p15:clr>
            <a:srgbClr val="A4A3A4"/>
          </p15:clr>
        </p15:guide>
        <p15:guide id="12" pos="2931">
          <p15:clr>
            <a:srgbClr val="A4A3A4"/>
          </p15:clr>
        </p15:guide>
        <p15:guide id="13" pos="2116">
          <p15:clr>
            <a:srgbClr val="A4A3A4"/>
          </p15:clr>
        </p15:guide>
        <p15:guide id="14" pos="3841">
          <p15:clr>
            <a:srgbClr val="A4A3A4"/>
          </p15:clr>
        </p15:guide>
        <p15:guide id="15" pos="46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b Hernandez" initials="RAH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95E0F"/>
    <a:srgbClr val="A1AF00"/>
    <a:srgbClr val="CD520D"/>
    <a:srgbClr val="CC00CC"/>
    <a:srgbClr val="CC66FF"/>
    <a:srgbClr val="004186"/>
    <a:srgbClr val="913A09"/>
    <a:srgbClr val="CC00FF"/>
    <a:srgbClr val="F69254"/>
    <a:srgbClr val="CC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47" autoAdjust="0"/>
    <p:restoredTop sz="88860" autoAdjust="0"/>
  </p:normalViewPr>
  <p:slideViewPr>
    <p:cSldViewPr snapToGrid="0">
      <p:cViewPr>
        <p:scale>
          <a:sx n="80" d="100"/>
          <a:sy n="80" d="100"/>
        </p:scale>
        <p:origin x="2224" y="776"/>
      </p:cViewPr>
      <p:guideLst>
        <p:guide orient="horz" pos="2121"/>
        <p:guide orient="horz" pos="260"/>
        <p:guide orient="horz" pos="2034"/>
        <p:guide orient="horz" pos="630"/>
        <p:guide orient="horz" pos="2531"/>
        <p:guide orient="horz" pos="2828"/>
        <p:guide orient="horz" pos="3128"/>
        <p:guide orient="horz" pos="3035"/>
        <p:guide pos="5570"/>
        <p:guide pos="4748"/>
        <p:guide pos="3537"/>
        <p:guide pos="2931"/>
        <p:guide pos="2116"/>
        <p:guide pos="3841"/>
        <p:guide pos="4653"/>
      </p:guideLst>
    </p:cSldViewPr>
  </p:slideViewPr>
  <p:outlineViewPr>
    <p:cViewPr>
      <p:scale>
        <a:sx n="33" d="100"/>
        <a:sy n="33" d="100"/>
      </p:scale>
      <p:origin x="0" y="80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8" d="100"/>
          <a:sy n="58" d="100"/>
        </p:scale>
        <p:origin x="-2940" y="-78"/>
      </p:cViewPr>
      <p:guideLst>
        <p:guide orient="horz" pos="3128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notesMaster" Target="notesMasters/notesMaster1.xml"/><Relationship Id="rId21" Type="http://schemas.openxmlformats.org/officeDocument/2006/relationships/handoutMaster" Target="handoutMasters/handoutMaster1.xml"/><Relationship Id="rId22" Type="http://schemas.openxmlformats.org/officeDocument/2006/relationships/commentAuthors" Target="commentAuthors.xml"/><Relationship Id="rId23" Type="http://schemas.openxmlformats.org/officeDocument/2006/relationships/presProps" Target="presProps.xml"/><Relationship Id="rId24" Type="http://schemas.openxmlformats.org/officeDocument/2006/relationships/viewProps" Target="viewProps.xml"/><Relationship Id="rId25" Type="http://schemas.openxmlformats.org/officeDocument/2006/relationships/theme" Target="theme/theme1.xml"/><Relationship Id="rId2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CD520D"/>
              </a:solidFill>
            </c:spPr>
          </c:dPt>
          <c:dLbls>
            <c:delete val="1"/>
          </c:dLbls>
          <c:cat>
            <c:strRef>
              <c:f>Sheet1!$A$2:$A$6</c:f>
              <c:strCache>
                <c:ptCount val="5"/>
                <c:pt idx="0">
                  <c:v>E-Tailer</c:v>
                </c:pt>
                <c:pt idx="1">
                  <c:v>BigBox</c:v>
                </c:pt>
                <c:pt idx="2">
                  <c:v>Home</c:v>
                </c:pt>
                <c:pt idx="3">
                  <c:v>Drug</c:v>
                </c:pt>
                <c:pt idx="4">
                  <c:v>Grocery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0.812633073101491</c:v>
                </c:pt>
                <c:pt idx="1">
                  <c:v>0.607523066004258</c:v>
                </c:pt>
                <c:pt idx="2">
                  <c:v>0.248403122782115</c:v>
                </c:pt>
                <c:pt idx="3">
                  <c:v>0.202980837473385</c:v>
                </c:pt>
                <c:pt idx="4">
                  <c:v>0.095102909865152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5"/>
        <c:overlap val="-25"/>
        <c:axId val="2141470336"/>
        <c:axId val="2141442720"/>
      </c:barChart>
      <c:catAx>
        <c:axId val="21414703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2141442720"/>
        <c:crosses val="autoZero"/>
        <c:auto val="1"/>
        <c:lblAlgn val="ctr"/>
        <c:lblOffset val="100"/>
        <c:noMultiLvlLbl val="0"/>
      </c:catAx>
      <c:valAx>
        <c:axId val="2141442720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21414703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b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Pt>
            <c:idx val="4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accent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E-Tailer</c:v>
                </c:pt>
                <c:pt idx="1">
                  <c:v>BigBox</c:v>
                </c:pt>
                <c:pt idx="2">
                  <c:v>Home</c:v>
                </c:pt>
                <c:pt idx="3">
                  <c:v>Drug</c:v>
                </c:pt>
                <c:pt idx="4">
                  <c:v>Grocery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5.269962383517142</c:v>
                </c:pt>
                <c:pt idx="1">
                  <c:v>4.207407998298234</c:v>
                </c:pt>
                <c:pt idx="2">
                  <c:v>4.561111111111112</c:v>
                </c:pt>
                <c:pt idx="3">
                  <c:v>3.532017543859649</c:v>
                </c:pt>
                <c:pt idx="4">
                  <c:v>2.67185911401597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pp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E95E0F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E-Tailer</c:v>
                </c:pt>
                <c:pt idx="1">
                  <c:v>BigBox</c:v>
                </c:pt>
                <c:pt idx="2">
                  <c:v>Home</c:v>
                </c:pt>
                <c:pt idx="3">
                  <c:v>Drug</c:v>
                </c:pt>
                <c:pt idx="4">
                  <c:v>Grocery</c:v>
                </c:pt>
              </c:strCache>
            </c:strRef>
          </c:cat>
          <c:val>
            <c:numRef>
              <c:f>Sheet1!$C$2:$C$6</c:f>
              <c:numCache>
                <c:formatCode>0.0</c:formatCode>
                <c:ptCount val="5"/>
                <c:pt idx="0">
                  <c:v>6.250454029511917</c:v>
                </c:pt>
                <c:pt idx="1">
                  <c:v>2.96511154011154</c:v>
                </c:pt>
                <c:pt idx="2">
                  <c:v>3.941975308641976</c:v>
                </c:pt>
                <c:pt idx="3">
                  <c:v>3.19818652849741</c:v>
                </c:pt>
                <c:pt idx="4">
                  <c:v>1.91675392670157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5"/>
        <c:axId val="2127637568"/>
        <c:axId val="2131434448"/>
      </c:barChart>
      <c:catAx>
        <c:axId val="212763756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2131434448"/>
        <c:crosses val="autoZero"/>
        <c:auto val="1"/>
        <c:lblAlgn val="ctr"/>
        <c:lblOffset val="100"/>
        <c:noMultiLvlLbl val="0"/>
      </c:catAx>
      <c:valAx>
        <c:axId val="2131434448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21276375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176900582758892"/>
          <c:y val="0.26275175385616"/>
          <c:w val="0.964619883448222"/>
          <c:h val="0.5645079330050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C</c:v>
                </c:pt>
              </c:strCache>
            </c:strRef>
          </c:tx>
          <c:spPr>
            <a:solidFill>
              <a:srgbClr val="7030A0"/>
            </a:solidFill>
          </c:spPr>
          <c:invertIfNegative val="0"/>
          <c:dPt>
            <c:idx val="4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7030A0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E-Tailer</c:v>
                </c:pt>
                <c:pt idx="1">
                  <c:v>BigBox</c:v>
                </c:pt>
                <c:pt idx="2">
                  <c:v>Home</c:v>
                </c:pt>
                <c:pt idx="3">
                  <c:v>Drug</c:v>
                </c:pt>
                <c:pt idx="4">
                  <c:v>Grocery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7.607348076741328</c:v>
                </c:pt>
                <c:pt idx="1">
                  <c:v>6.508868894601543</c:v>
                </c:pt>
                <c:pt idx="2">
                  <c:v>6.784772727272728</c:v>
                </c:pt>
                <c:pt idx="3">
                  <c:v>5.835144927536231</c:v>
                </c:pt>
                <c:pt idx="4">
                  <c:v>4.1113553113553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HONE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E95E0F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E-Tailer</c:v>
                </c:pt>
                <c:pt idx="1">
                  <c:v>BigBox</c:v>
                </c:pt>
                <c:pt idx="2">
                  <c:v>Home</c:v>
                </c:pt>
                <c:pt idx="3">
                  <c:v>Drug</c:v>
                </c:pt>
                <c:pt idx="4">
                  <c:v>Grocery</c:v>
                </c:pt>
              </c:strCache>
            </c:strRef>
          </c:cat>
          <c:val>
            <c:numRef>
              <c:f>Sheet1!$C$2:$C$6</c:f>
              <c:numCache>
                <c:formatCode>0.0</c:formatCode>
                <c:ptCount val="5"/>
                <c:pt idx="0">
                  <c:v>3.560127652379745</c:v>
                </c:pt>
                <c:pt idx="1">
                  <c:v>2.822093273157103</c:v>
                </c:pt>
                <c:pt idx="2">
                  <c:v>2.773359840954275</c:v>
                </c:pt>
                <c:pt idx="3">
                  <c:v>2.67526690391459</c:v>
                </c:pt>
                <c:pt idx="4">
                  <c:v>1.771312143439283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ABLET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A1AF00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E-Tailer</c:v>
                </c:pt>
                <c:pt idx="1">
                  <c:v>BigBox</c:v>
                </c:pt>
                <c:pt idx="2">
                  <c:v>Home</c:v>
                </c:pt>
                <c:pt idx="3">
                  <c:v>Drug</c:v>
                </c:pt>
                <c:pt idx="4">
                  <c:v>Grocery</c:v>
                </c:pt>
              </c:strCache>
            </c:strRef>
          </c:cat>
          <c:val>
            <c:numRef>
              <c:f>Sheet1!$D$2:$D$6</c:f>
              <c:numCache>
                <c:formatCode>0.0</c:formatCode>
                <c:ptCount val="5"/>
                <c:pt idx="0">
                  <c:v>4.742031982354563</c:v>
                </c:pt>
                <c:pt idx="1">
                  <c:v>3.445863166268893</c:v>
                </c:pt>
                <c:pt idx="2">
                  <c:v>3.638114754098361</c:v>
                </c:pt>
                <c:pt idx="3">
                  <c:v>3.41</c:v>
                </c:pt>
                <c:pt idx="4">
                  <c:v>2.02966101694915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5"/>
        <c:axId val="2140008752"/>
        <c:axId val="2136537840"/>
      </c:barChart>
      <c:catAx>
        <c:axId val="21400087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2136537840"/>
        <c:crosses val="autoZero"/>
        <c:auto val="1"/>
        <c:lblAlgn val="ctr"/>
        <c:lblOffset val="100"/>
        <c:noMultiLvlLbl val="0"/>
      </c:catAx>
      <c:valAx>
        <c:axId val="2136537840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21400087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2889939" cy="496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1" tIns="47405" rIns="94811" bIns="47405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30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7598" y="1"/>
            <a:ext cx="2889939" cy="496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1" tIns="47405" rIns="94811" bIns="47405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30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484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430467"/>
            <a:ext cx="2889939" cy="49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1" tIns="47405" rIns="94811" bIns="47405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30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484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7598" y="9430467"/>
            <a:ext cx="2889939" cy="49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1" tIns="47405" rIns="94811" bIns="47405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300">
                <a:cs typeface="+mn-cs"/>
              </a:defRPr>
            </a:lvl1pPr>
          </a:lstStyle>
          <a:p>
            <a:pPr>
              <a:defRPr/>
            </a:pPr>
            <a:fld id="{B62F1C7C-A452-4222-9E7C-2C4E7394EAF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47390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2889939" cy="496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1" tIns="47405" rIns="94811" bIns="47405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30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7598" y="1"/>
            <a:ext cx="2889939" cy="496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1" tIns="47405" rIns="94811" bIns="47405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30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73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400" y="744538"/>
            <a:ext cx="6618288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6909" y="4716028"/>
            <a:ext cx="5335270" cy="446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1" tIns="47405" rIns="94811" bIns="474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</a:p>
        </p:txBody>
      </p:sp>
      <p:sp>
        <p:nvSpPr>
          <p:cNvPr id="286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430467"/>
            <a:ext cx="2889939" cy="49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1" tIns="47405" rIns="94811" bIns="47405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30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86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7598" y="9430467"/>
            <a:ext cx="2889939" cy="49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1" tIns="47405" rIns="94811" bIns="47405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300">
                <a:cs typeface="+mn-cs"/>
              </a:defRPr>
            </a:lvl1pPr>
          </a:lstStyle>
          <a:p>
            <a:pPr>
              <a:defRPr/>
            </a:pPr>
            <a:fld id="{4695A9A6-BBFE-416C-8AEF-DD3F30AC664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71793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ahoma" pitchFamily="34" charset="0"/>
        <a:ea typeface="+mn-ea"/>
        <a:cs typeface="+mn-cs"/>
      </a:defRPr>
    </a:lvl1pPr>
    <a:lvl2pPr marL="407947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ahoma" pitchFamily="34" charset="0"/>
        <a:ea typeface="+mn-ea"/>
        <a:cs typeface="+mn-cs"/>
      </a:defRPr>
    </a:lvl2pPr>
    <a:lvl3pPr marL="815893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ahoma" pitchFamily="34" charset="0"/>
        <a:ea typeface="+mn-ea"/>
        <a:cs typeface="+mn-cs"/>
      </a:defRPr>
    </a:lvl3pPr>
    <a:lvl4pPr marL="122384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ahoma" pitchFamily="34" charset="0"/>
        <a:ea typeface="+mn-ea"/>
        <a:cs typeface="+mn-cs"/>
      </a:defRPr>
    </a:lvl4pPr>
    <a:lvl5pPr marL="1631786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ahoma" pitchFamily="34" charset="0"/>
        <a:ea typeface="+mn-ea"/>
        <a:cs typeface="+mn-cs"/>
      </a:defRPr>
    </a:lvl5pPr>
    <a:lvl6pPr marL="2040508" algn="l" defTabSz="81620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448610" algn="l" defTabSz="81620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856711" algn="l" defTabSz="81620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264812" algn="l" defTabSz="81620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>
                <a:solidFill>
                  <a:schemeClr val="bg2"/>
                </a:solidFill>
              </a:rPr>
              <a:t>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0796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18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47557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90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900">
                <a:solidFill>
                  <a:schemeClr val="bg2"/>
                </a:solidFill>
              </a:rPr>
              <a:pPr/>
              <a:t>3</a:t>
            </a:fld>
            <a:endParaRPr lang="en-US" sz="9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9947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95A9A6-BBFE-416C-8AEF-DD3F30AC6645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42885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000" dirty="0" smtClean="0">
                <a:latin typeface="Chalkboard"/>
                <a:cs typeface="Chalkboard"/>
              </a:rPr>
              <a:t>\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6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3917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9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3917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1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3917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13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3917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15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3917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17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0926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4019" y="1780137"/>
            <a:ext cx="8500727" cy="1008504"/>
          </a:xfrm>
        </p:spPr>
        <p:txBody>
          <a:bodyPr anchor="b"/>
          <a:lstStyle>
            <a:lvl1pPr>
              <a:defRPr sz="3800" b="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4018" y="2860674"/>
            <a:ext cx="8500728" cy="1152179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Click to add text</a:t>
            </a:r>
          </a:p>
        </p:txBody>
      </p:sp>
      <p:sp>
        <p:nvSpPr>
          <p:cNvPr id="4" name="Rechteck 3"/>
          <p:cNvSpPr/>
          <p:nvPr/>
        </p:nvSpPr>
        <p:spPr bwMode="gray">
          <a:xfrm>
            <a:off x="0" y="4949767"/>
            <a:ext cx="9148763" cy="21593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8" tIns="45733" rIns="91468" bIns="45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4018" y="4643570"/>
            <a:ext cx="8500725" cy="16197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Blac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0"/>
            <a:ext cx="9148763" cy="5145088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8" tIns="45733" rIns="91468" bIns="45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GB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4021" y="987732"/>
            <a:ext cx="8500725" cy="1945289"/>
          </a:xfrm>
        </p:spPr>
        <p:txBody>
          <a:bodyPr vert="horz" lIns="0" tIns="18005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698" y="1780138"/>
            <a:ext cx="1296819" cy="22330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smtClean="0"/>
              <a:t>Picture</a:t>
            </a:r>
            <a:endParaRPr lang="en-US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4608" y="3364872"/>
            <a:ext cx="2737728" cy="21609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4608" y="2932691"/>
            <a:ext cx="2737729" cy="21609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4608" y="1780139"/>
            <a:ext cx="2737729" cy="115255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4608" y="3580962"/>
            <a:ext cx="2737729" cy="21609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4687" y="3797053"/>
            <a:ext cx="2737651" cy="2150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7147" y="1780138"/>
            <a:ext cx="1296819" cy="223300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smtClean="0"/>
              <a:t>Picture</a:t>
            </a:r>
            <a:endParaRPr lang="en-US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8059" y="3364872"/>
            <a:ext cx="2737728" cy="21609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8059" y="2932691"/>
            <a:ext cx="2737729" cy="21609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8059" y="1780139"/>
            <a:ext cx="2737729" cy="115255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8059" y="3580962"/>
            <a:ext cx="2737729" cy="21609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8138" y="3797053"/>
            <a:ext cx="2737651" cy="2150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698" y="2932656"/>
            <a:ext cx="1296819" cy="180085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smtClean="0"/>
              <a:t>Picture</a:t>
            </a:r>
            <a:endParaRPr lang="en-US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4608" y="4085241"/>
            <a:ext cx="2737728" cy="21609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4608" y="3653058"/>
            <a:ext cx="2737729" cy="21609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4608" y="2932855"/>
            <a:ext cx="2737729" cy="72020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4608" y="4301329"/>
            <a:ext cx="2737729" cy="21609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4687" y="4517420"/>
            <a:ext cx="2737651" cy="2150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7147" y="2932656"/>
            <a:ext cx="1296819" cy="180085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smtClean="0"/>
              <a:t>Picture</a:t>
            </a:r>
            <a:endParaRPr lang="en-US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8059" y="4085241"/>
            <a:ext cx="2737728" cy="21609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8059" y="3653058"/>
            <a:ext cx="2737729" cy="21609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8059" y="2932855"/>
            <a:ext cx="2737729" cy="72020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8059" y="4301329"/>
            <a:ext cx="2737729" cy="21609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8138" y="4517420"/>
            <a:ext cx="2737651" cy="2150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698" y="987836"/>
            <a:ext cx="1296819" cy="180085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smtClean="0"/>
              <a:t>Picture</a:t>
            </a:r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4608" y="2140219"/>
            <a:ext cx="2737728" cy="21609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4608" y="1708038"/>
            <a:ext cx="2737729" cy="21609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4608" y="987835"/>
            <a:ext cx="2737729" cy="72020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4608" y="2356309"/>
            <a:ext cx="2737729" cy="21609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4687" y="2572400"/>
            <a:ext cx="2737651" cy="2150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7147" y="987836"/>
            <a:ext cx="1296819" cy="180085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smtClean="0"/>
              <a:t>Picture</a:t>
            </a:r>
            <a:endParaRPr lang="en-US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8059" y="2140219"/>
            <a:ext cx="2737728" cy="21609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8059" y="1708038"/>
            <a:ext cx="2737729" cy="21609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8059" y="987835"/>
            <a:ext cx="2737729" cy="72020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8059" y="2356309"/>
            <a:ext cx="2737729" cy="21609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8138" y="2572400"/>
            <a:ext cx="2737651" cy="2150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427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8763" cy="5145088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579" y="987730"/>
            <a:ext cx="8501606" cy="1945288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697" y="4733518"/>
            <a:ext cx="8501370" cy="216091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697" y="4517426"/>
            <a:ext cx="8501370" cy="216091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4021" y="195481"/>
            <a:ext cx="7872125" cy="576283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/>
          </p:nvPr>
        </p:nvSpPr>
        <p:spPr bwMode="gray">
          <a:xfrm>
            <a:off x="324019" y="4805261"/>
            <a:ext cx="8500726" cy="144507"/>
          </a:xfrm>
        </p:spPr>
        <p:txBody>
          <a:bodyPr tIns="0" bIns="36002" anchor="b"/>
          <a:lstStyle>
            <a:lvl1pPr marL="0" marR="0" indent="0" algn="l" defTabSz="914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07951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add text</a:t>
            </a:r>
            <a:endParaRPr lang="en-GB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4019" y="4841386"/>
            <a:ext cx="8500726" cy="108380"/>
          </a:xfrm>
        </p:spPr>
        <p:txBody>
          <a:bodyPr tIns="0" bIns="36014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697" y="789796"/>
            <a:ext cx="4179211" cy="3997678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646430" y="789796"/>
            <a:ext cx="4179211" cy="3997678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848082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4020" y="1780138"/>
            <a:ext cx="8500727" cy="1008504"/>
          </a:xfrm>
        </p:spPr>
        <p:txBody>
          <a:bodyPr anchor="b"/>
          <a:lstStyle>
            <a:lvl1pPr>
              <a:defRPr sz="3800" b="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4018" y="2860674"/>
            <a:ext cx="8500728" cy="1152179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Click to add text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49767"/>
            <a:ext cx="9148763" cy="21593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77" tIns="45738" rIns="91477" bIns="457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4019" y="4643570"/>
            <a:ext cx="8500725" cy="161975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550826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108" indent="-360108">
              <a:spcBef>
                <a:spcPts val="1199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1800"/>
            </a:lvl1pPr>
            <a:lvl2pPr marL="358883" indent="0">
              <a:spcAft>
                <a:spcPts val="400"/>
              </a:spcAft>
              <a:buClr>
                <a:schemeClr val="bg2"/>
              </a:buClr>
              <a:buFont typeface="+mj-lt"/>
              <a:buNone/>
              <a:defRPr sz="1800">
                <a:solidFill>
                  <a:schemeClr val="tx1"/>
                </a:solidFill>
              </a:defRPr>
            </a:lvl2pPr>
            <a:lvl3pPr marL="360108" indent="0">
              <a:spcAft>
                <a:spcPts val="1199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108" indent="0">
              <a:spcAft>
                <a:spcPts val="1199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108" indent="0">
              <a:spcAft>
                <a:spcPts val="1199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108" indent="0">
              <a:spcAft>
                <a:spcPts val="1199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108" indent="0">
              <a:spcAft>
                <a:spcPts val="1199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108" indent="0">
              <a:spcAft>
                <a:spcPts val="1199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108" indent="0">
              <a:spcAft>
                <a:spcPts val="1199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780191"/>
            <a:ext cx="9148763" cy="1584709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98" tIns="0" rIns="324098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4" name="Gruppieren 95"/>
          <p:cNvGrpSpPr/>
          <p:nvPr/>
        </p:nvGrpSpPr>
        <p:grpSpPr bwMode="gray">
          <a:xfrm>
            <a:off x="324019" y="-315618"/>
            <a:ext cx="8501166" cy="216097"/>
            <a:chOff x="323850" y="-531550"/>
            <a:chExt cx="8496740" cy="432060"/>
          </a:xfrm>
        </p:grpSpPr>
        <p:cxnSp>
          <p:nvCxnSpPr>
            <p:cNvPr id="97" name="Gerade Verbindung 9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uppieren 108"/>
          <p:cNvGrpSpPr/>
          <p:nvPr/>
        </p:nvGrpSpPr>
        <p:grpSpPr bwMode="gray">
          <a:xfrm>
            <a:off x="324019" y="5237736"/>
            <a:ext cx="8501166" cy="216097"/>
            <a:chOff x="323850" y="-531550"/>
            <a:chExt cx="8496740" cy="432060"/>
          </a:xfrm>
        </p:grpSpPr>
        <p:cxnSp>
          <p:nvCxnSpPr>
            <p:cNvPr id="110" name="Gerade Verbindung 10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pieren 121"/>
          <p:cNvGrpSpPr/>
          <p:nvPr/>
        </p:nvGrpSpPr>
        <p:grpSpPr bwMode="gray">
          <a:xfrm>
            <a:off x="9257469" y="771738"/>
            <a:ext cx="216143" cy="4177869"/>
            <a:chOff x="9252650" y="771500"/>
            <a:chExt cx="216030" cy="4176580"/>
          </a:xfrm>
        </p:grpSpPr>
        <p:cxnSp>
          <p:nvCxnSpPr>
            <p:cNvPr id="123" name="Gerade Verbindung 122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124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127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Gerade Verbindung 128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rade Verbindung 129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130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131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Gerade Verbindung 132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133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Gerade Verbindung 134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hteck 2"/>
          <p:cNvSpPr/>
          <p:nvPr/>
        </p:nvSpPr>
        <p:spPr bwMode="gray">
          <a:xfrm>
            <a:off x="0" y="0"/>
            <a:ext cx="9148763" cy="16819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8" tIns="45733" rIns="91468" bIns="45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de-DE" sz="160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ing docum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996286"/>
            <a:ext cx="9148763" cy="1152516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98" tIns="0" rIns="324098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59" name="Rechteck 58"/>
          <p:cNvSpPr/>
          <p:nvPr/>
        </p:nvSpPr>
        <p:spPr bwMode="gray">
          <a:xfrm>
            <a:off x="0" y="1978294"/>
            <a:ext cx="9148763" cy="54023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8" tIns="45733" rIns="91468" bIns="45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0" y="3112772"/>
            <a:ext cx="9148763" cy="54023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8" tIns="45733" rIns="91468" bIns="45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" name="Rechteck 2"/>
          <p:cNvSpPr/>
          <p:nvPr/>
        </p:nvSpPr>
        <p:spPr bwMode="gray">
          <a:xfrm>
            <a:off x="0" y="0"/>
            <a:ext cx="9148763" cy="178013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8" tIns="45733" rIns="91468" bIns="45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de-DE" sz="160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4019" y="4805259"/>
            <a:ext cx="8500726" cy="144507"/>
          </a:xfrm>
        </p:spPr>
        <p:txBody>
          <a:bodyPr tIns="0" bIns="36010" anchor="b" anchorCtr="0"/>
          <a:lstStyle>
            <a:lvl1pPr marL="0" marR="0" indent="0" algn="l" defTabSz="914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102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10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4019" y="4805543"/>
            <a:ext cx="8500726" cy="144507"/>
          </a:xfrm>
        </p:spPr>
        <p:txBody>
          <a:bodyPr tIns="0" bIns="3601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4019" y="4805543"/>
            <a:ext cx="8500726" cy="144507"/>
          </a:xfrm>
        </p:spPr>
        <p:txBody>
          <a:bodyPr tIns="0" bIns="3601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4020" y="915804"/>
            <a:ext cx="4178889" cy="3817995"/>
          </a:xfrm>
        </p:spPr>
        <p:txBody>
          <a:bodyPr/>
          <a:lstStyle>
            <a:lvl1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102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10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4646430" y="915804"/>
            <a:ext cx="4178889" cy="3817995"/>
          </a:xfrm>
        </p:spPr>
        <p:txBody>
          <a:bodyPr/>
          <a:lstStyle>
            <a:lvl1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102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10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4019" y="4805543"/>
            <a:ext cx="8500726" cy="144507"/>
          </a:xfrm>
        </p:spPr>
        <p:txBody>
          <a:bodyPr tIns="0" bIns="3601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4019" y="915804"/>
            <a:ext cx="2736688" cy="3817995"/>
          </a:xfrm>
        </p:spPr>
        <p:txBody>
          <a:bodyPr/>
          <a:lstStyle>
            <a:lvl1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102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10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3205479" y="915804"/>
            <a:ext cx="2736688" cy="3817995"/>
          </a:xfrm>
        </p:spPr>
        <p:txBody>
          <a:bodyPr/>
          <a:lstStyle>
            <a:lvl1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102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10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6087381" y="915804"/>
            <a:ext cx="2736688" cy="3817995"/>
          </a:xfrm>
        </p:spPr>
        <p:txBody>
          <a:bodyPr/>
          <a:lstStyle>
            <a:lvl1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102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10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/>
        </p:nvSpPr>
        <p:spPr bwMode="gray">
          <a:xfrm>
            <a:off x="0" y="0"/>
            <a:ext cx="9148763" cy="514508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8" tIns="45733" rIns="91468" bIns="45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GB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4020" y="985831"/>
            <a:ext cx="8500725" cy="1945289"/>
          </a:xfrm>
        </p:spPr>
        <p:txBody>
          <a:bodyPr vert="horz" lIns="0" tIns="18005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1.xml"/><Relationship Id="rId21" Type="http://schemas.openxmlformats.org/officeDocument/2006/relationships/tags" Target="../tags/tag2.xml"/><Relationship Id="rId22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4021" y="195481"/>
            <a:ext cx="7852907" cy="5762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smtClean="0"/>
              <a:t>Click to add text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324019" y="915804"/>
            <a:ext cx="8500726" cy="3817995"/>
          </a:xfrm>
          <a:prstGeom prst="rect">
            <a:avLst/>
          </a:prstGeom>
        </p:spPr>
        <p:txBody>
          <a:bodyPr vert="horz" lIns="0" tIns="18005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50005" y="195482"/>
            <a:ext cx="576379" cy="576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uppieren 14"/>
          <p:cNvGrpSpPr/>
          <p:nvPr/>
        </p:nvGrpSpPr>
        <p:grpSpPr bwMode="gray">
          <a:xfrm>
            <a:off x="324019" y="-315618"/>
            <a:ext cx="8501166" cy="216097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pieren 27"/>
          <p:cNvGrpSpPr/>
          <p:nvPr/>
        </p:nvGrpSpPr>
        <p:grpSpPr bwMode="gray">
          <a:xfrm>
            <a:off x="324019" y="5237736"/>
            <a:ext cx="8501166" cy="216097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7"/>
          <p:cNvGrpSpPr/>
          <p:nvPr/>
        </p:nvGrpSpPr>
        <p:grpSpPr bwMode="gray">
          <a:xfrm>
            <a:off x="9257469" y="771738"/>
            <a:ext cx="216143" cy="4177869"/>
            <a:chOff x="9252650" y="771500"/>
            <a:chExt cx="216030" cy="4176580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VCT_Marker_ID_4" hidden="1"/>
          <p:cNvSpPr/>
          <p:nvPr>
            <p:custDataLst>
              <p:tags r:id="rId21"/>
            </p:custDataLst>
          </p:nvPr>
        </p:nvSpPr>
        <p:spPr bwMode="gray">
          <a:xfrm>
            <a:off x="1270662" y="127039"/>
            <a:ext cx="127066" cy="12703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8" tIns="45733" rIns="91468" bIns="45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8" name="Gruppieren 63"/>
          <p:cNvGrpSpPr/>
          <p:nvPr/>
        </p:nvGrpSpPr>
        <p:grpSpPr bwMode="gray">
          <a:xfrm>
            <a:off x="-324848" y="771738"/>
            <a:ext cx="216143" cy="4177869"/>
            <a:chOff x="9252650" y="771500"/>
            <a:chExt cx="216030" cy="4176580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9" name="Rechteck 13"/>
          <p:cNvSpPr/>
          <p:nvPr/>
        </p:nvSpPr>
        <p:spPr bwMode="gray">
          <a:xfrm>
            <a:off x="324559" y="4949608"/>
            <a:ext cx="7059675" cy="1440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smtClean="0">
                <a:solidFill>
                  <a:schemeClr val="bg2"/>
                </a:solidFill>
                <a:latin typeface="Arial" pitchFamily="34" charset="0"/>
              </a:rPr>
              <a:t>© </a:t>
            </a:r>
            <a:r>
              <a:rPr lang="en-US" sz="800" noProof="0" err="1" smtClean="0">
                <a:solidFill>
                  <a:schemeClr val="bg2"/>
                </a:solidFill>
                <a:latin typeface="Arial" pitchFamily="34" charset="0"/>
              </a:rPr>
              <a:t>GfK</a:t>
            </a:r>
            <a:r>
              <a:rPr lang="en-US" sz="800" noProof="0" smtClean="0">
                <a:solidFill>
                  <a:schemeClr val="bg2"/>
                </a:solidFill>
                <a:latin typeface="Arial" pitchFamily="34" charset="0"/>
              </a:rPr>
              <a:t> 2012 | Title of presentation | DD. Month 2012</a:t>
            </a:r>
          </a:p>
        </p:txBody>
      </p:sp>
      <p:pic>
        <p:nvPicPr>
          <p:cNvPr id="64" name="Picture 2"/>
          <p:cNvPicPr>
            <a:picLocks noChangeAspect="1" noChangeArrowheads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50005" y="195482"/>
            <a:ext cx="576379" cy="576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Rechteck 79"/>
          <p:cNvSpPr/>
          <p:nvPr userDrawn="1"/>
        </p:nvSpPr>
        <p:spPr bwMode="gray">
          <a:xfrm>
            <a:off x="323580" y="4949628"/>
            <a:ext cx="7059675" cy="1440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 smtClean="0">
                <a:solidFill>
                  <a:schemeClr val="bg2"/>
                </a:solidFill>
                <a:latin typeface="+mj-lt"/>
              </a:rPr>
              <a:t>© </a:t>
            </a:r>
            <a:r>
              <a:rPr lang="en-GB" sz="800" dirty="0" err="1" smtClean="0">
                <a:solidFill>
                  <a:schemeClr val="bg2"/>
                </a:solidFill>
                <a:latin typeface="+mj-lt"/>
              </a:rPr>
              <a:t>GfK</a:t>
            </a:r>
            <a:r>
              <a:rPr lang="en-GB" sz="800" dirty="0" smtClean="0">
                <a:solidFill>
                  <a:schemeClr val="bg2"/>
                </a:solidFill>
                <a:latin typeface="+mj-lt"/>
              </a:rPr>
              <a:t> 2015 </a:t>
            </a:r>
          </a:p>
        </p:txBody>
      </p:sp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6" r:id="rId1"/>
    <p:sldLayoutId id="2147484298" r:id="rId2"/>
    <p:sldLayoutId id="2147484299" r:id="rId3"/>
    <p:sldLayoutId id="2147484300" r:id="rId4"/>
    <p:sldLayoutId id="2147484301" r:id="rId5"/>
    <p:sldLayoutId id="2147484302" r:id="rId6"/>
    <p:sldLayoutId id="2147484303" r:id="rId7"/>
    <p:sldLayoutId id="2147484304" r:id="rId8"/>
    <p:sldLayoutId id="2147484305" r:id="rId9"/>
    <p:sldLayoutId id="2147484306" r:id="rId10"/>
    <p:sldLayoutId id="2147484308" r:id="rId11"/>
    <p:sldLayoutId id="2147484309" r:id="rId12"/>
    <p:sldLayoutId id="2147484310" r:id="rId13"/>
    <p:sldLayoutId id="2147484329" r:id="rId14"/>
    <p:sldLayoutId id="2147484330" r:id="rId15"/>
    <p:sldLayoutId id="2147484331" r:id="rId16"/>
    <p:sldLayoutId id="2147484332" r:id="rId17"/>
    <p:sldLayoutId id="2147484333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675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675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8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0" marR="0" indent="0" algn="l" defTabSz="914675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1028" marR="0" indent="-181028" algn="l" defTabSz="914675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60108" marR="0" indent="-181028" algn="l" defTabSz="914675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0162" marR="0" indent="-181028" algn="l" defTabSz="914675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162" marR="0" indent="-181028" algn="l" defTabSz="914675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162" marR="0" indent="-181028" algn="l" defTabSz="914675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162" indent="-180054" algn="l" defTabSz="914675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162" marR="0" indent="-181028" algn="l" defTabSz="914675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6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337" algn="l" defTabSz="9146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675" algn="l" defTabSz="9146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2012" algn="l" defTabSz="9146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348" algn="l" defTabSz="9146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685" algn="l" defTabSz="9146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4022" algn="l" defTabSz="9146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1359" algn="l" defTabSz="9146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696" algn="l" defTabSz="9146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jpeg"/><Relationship Id="rId3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.jpeg"/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27.xml"/><Relationship Id="rId14" Type="http://schemas.openxmlformats.org/officeDocument/2006/relationships/tags" Target="../tags/tag28.xml"/><Relationship Id="rId15" Type="http://schemas.openxmlformats.org/officeDocument/2006/relationships/tags" Target="../tags/tag29.xml"/><Relationship Id="rId16" Type="http://schemas.openxmlformats.org/officeDocument/2006/relationships/tags" Target="../tags/tag30.xml"/><Relationship Id="rId17" Type="http://schemas.openxmlformats.org/officeDocument/2006/relationships/tags" Target="../tags/tag31.xml"/><Relationship Id="rId18" Type="http://schemas.openxmlformats.org/officeDocument/2006/relationships/tags" Target="../tags/tag32.xml"/><Relationship Id="rId19" Type="http://schemas.openxmlformats.org/officeDocument/2006/relationships/tags" Target="../tags/tag33.xml"/><Relationship Id="rId63" Type="http://schemas.openxmlformats.org/officeDocument/2006/relationships/tags" Target="../tags/tag77.xml"/><Relationship Id="rId64" Type="http://schemas.openxmlformats.org/officeDocument/2006/relationships/tags" Target="../tags/tag78.xml"/><Relationship Id="rId65" Type="http://schemas.openxmlformats.org/officeDocument/2006/relationships/tags" Target="../tags/tag79.xml"/><Relationship Id="rId66" Type="http://schemas.openxmlformats.org/officeDocument/2006/relationships/tags" Target="../tags/tag80.xml"/><Relationship Id="rId67" Type="http://schemas.openxmlformats.org/officeDocument/2006/relationships/tags" Target="../tags/tag81.xml"/><Relationship Id="rId68" Type="http://schemas.openxmlformats.org/officeDocument/2006/relationships/tags" Target="../tags/tag82.xml"/><Relationship Id="rId69" Type="http://schemas.openxmlformats.org/officeDocument/2006/relationships/tags" Target="../tags/tag83.xml"/><Relationship Id="rId50" Type="http://schemas.openxmlformats.org/officeDocument/2006/relationships/tags" Target="../tags/tag64.xml"/><Relationship Id="rId51" Type="http://schemas.openxmlformats.org/officeDocument/2006/relationships/tags" Target="../tags/tag65.xml"/><Relationship Id="rId52" Type="http://schemas.openxmlformats.org/officeDocument/2006/relationships/tags" Target="../tags/tag66.xml"/><Relationship Id="rId53" Type="http://schemas.openxmlformats.org/officeDocument/2006/relationships/tags" Target="../tags/tag67.xml"/><Relationship Id="rId54" Type="http://schemas.openxmlformats.org/officeDocument/2006/relationships/tags" Target="../tags/tag68.xml"/><Relationship Id="rId55" Type="http://schemas.openxmlformats.org/officeDocument/2006/relationships/tags" Target="../tags/tag69.xml"/><Relationship Id="rId56" Type="http://schemas.openxmlformats.org/officeDocument/2006/relationships/tags" Target="../tags/tag70.xml"/><Relationship Id="rId57" Type="http://schemas.openxmlformats.org/officeDocument/2006/relationships/tags" Target="../tags/tag71.xml"/><Relationship Id="rId58" Type="http://schemas.openxmlformats.org/officeDocument/2006/relationships/tags" Target="../tags/tag72.xml"/><Relationship Id="rId59" Type="http://schemas.openxmlformats.org/officeDocument/2006/relationships/tags" Target="../tags/tag73.xml"/><Relationship Id="rId40" Type="http://schemas.openxmlformats.org/officeDocument/2006/relationships/tags" Target="../tags/tag54.xml"/><Relationship Id="rId41" Type="http://schemas.openxmlformats.org/officeDocument/2006/relationships/tags" Target="../tags/tag55.xml"/><Relationship Id="rId42" Type="http://schemas.openxmlformats.org/officeDocument/2006/relationships/tags" Target="../tags/tag56.xml"/><Relationship Id="rId43" Type="http://schemas.openxmlformats.org/officeDocument/2006/relationships/tags" Target="../tags/tag57.xml"/><Relationship Id="rId44" Type="http://schemas.openxmlformats.org/officeDocument/2006/relationships/tags" Target="../tags/tag58.xml"/><Relationship Id="rId45" Type="http://schemas.openxmlformats.org/officeDocument/2006/relationships/tags" Target="../tags/tag59.xml"/><Relationship Id="rId46" Type="http://schemas.openxmlformats.org/officeDocument/2006/relationships/tags" Target="../tags/tag60.xml"/><Relationship Id="rId47" Type="http://schemas.openxmlformats.org/officeDocument/2006/relationships/tags" Target="../tags/tag61.xml"/><Relationship Id="rId48" Type="http://schemas.openxmlformats.org/officeDocument/2006/relationships/tags" Target="../tags/tag62.xml"/><Relationship Id="rId49" Type="http://schemas.openxmlformats.org/officeDocument/2006/relationships/tags" Target="../tags/tag63.xml"/><Relationship Id="rId1" Type="http://schemas.openxmlformats.org/officeDocument/2006/relationships/tags" Target="../tags/tag15.xml"/><Relationship Id="rId2" Type="http://schemas.openxmlformats.org/officeDocument/2006/relationships/tags" Target="../tags/tag16.xml"/><Relationship Id="rId3" Type="http://schemas.openxmlformats.org/officeDocument/2006/relationships/tags" Target="../tags/tag17.xml"/><Relationship Id="rId4" Type="http://schemas.openxmlformats.org/officeDocument/2006/relationships/tags" Target="../tags/tag18.xml"/><Relationship Id="rId5" Type="http://schemas.openxmlformats.org/officeDocument/2006/relationships/tags" Target="../tags/tag19.xml"/><Relationship Id="rId6" Type="http://schemas.openxmlformats.org/officeDocument/2006/relationships/tags" Target="../tags/tag20.xml"/><Relationship Id="rId7" Type="http://schemas.openxmlformats.org/officeDocument/2006/relationships/tags" Target="../tags/tag21.xml"/><Relationship Id="rId8" Type="http://schemas.openxmlformats.org/officeDocument/2006/relationships/tags" Target="../tags/tag22.xml"/><Relationship Id="rId9" Type="http://schemas.openxmlformats.org/officeDocument/2006/relationships/tags" Target="../tags/tag23.xml"/><Relationship Id="rId30" Type="http://schemas.openxmlformats.org/officeDocument/2006/relationships/tags" Target="../tags/tag44.xml"/><Relationship Id="rId31" Type="http://schemas.openxmlformats.org/officeDocument/2006/relationships/tags" Target="../tags/tag45.xml"/><Relationship Id="rId32" Type="http://schemas.openxmlformats.org/officeDocument/2006/relationships/tags" Target="../tags/tag46.xml"/><Relationship Id="rId33" Type="http://schemas.openxmlformats.org/officeDocument/2006/relationships/tags" Target="../tags/tag47.xml"/><Relationship Id="rId34" Type="http://schemas.openxmlformats.org/officeDocument/2006/relationships/tags" Target="../tags/tag48.xml"/><Relationship Id="rId35" Type="http://schemas.openxmlformats.org/officeDocument/2006/relationships/tags" Target="../tags/tag49.xml"/><Relationship Id="rId36" Type="http://schemas.openxmlformats.org/officeDocument/2006/relationships/tags" Target="../tags/tag50.xml"/><Relationship Id="rId37" Type="http://schemas.openxmlformats.org/officeDocument/2006/relationships/tags" Target="../tags/tag51.xml"/><Relationship Id="rId38" Type="http://schemas.openxmlformats.org/officeDocument/2006/relationships/tags" Target="../tags/tag52.xml"/><Relationship Id="rId39" Type="http://schemas.openxmlformats.org/officeDocument/2006/relationships/tags" Target="../tags/tag53.xml"/><Relationship Id="rId80" Type="http://schemas.openxmlformats.org/officeDocument/2006/relationships/tags" Target="../tags/tag94.xml"/><Relationship Id="rId81" Type="http://schemas.openxmlformats.org/officeDocument/2006/relationships/tags" Target="../tags/tag95.xml"/><Relationship Id="rId82" Type="http://schemas.openxmlformats.org/officeDocument/2006/relationships/tags" Target="../tags/tag96.xml"/><Relationship Id="rId83" Type="http://schemas.openxmlformats.org/officeDocument/2006/relationships/slideLayout" Target="../slideLayouts/slideLayout16.xml"/><Relationship Id="rId70" Type="http://schemas.openxmlformats.org/officeDocument/2006/relationships/tags" Target="../tags/tag84.xml"/><Relationship Id="rId71" Type="http://schemas.openxmlformats.org/officeDocument/2006/relationships/tags" Target="../tags/tag85.xml"/><Relationship Id="rId72" Type="http://schemas.openxmlformats.org/officeDocument/2006/relationships/tags" Target="../tags/tag86.xml"/><Relationship Id="rId20" Type="http://schemas.openxmlformats.org/officeDocument/2006/relationships/tags" Target="../tags/tag34.xml"/><Relationship Id="rId21" Type="http://schemas.openxmlformats.org/officeDocument/2006/relationships/tags" Target="../tags/tag35.xml"/><Relationship Id="rId22" Type="http://schemas.openxmlformats.org/officeDocument/2006/relationships/tags" Target="../tags/tag36.xml"/><Relationship Id="rId23" Type="http://schemas.openxmlformats.org/officeDocument/2006/relationships/tags" Target="../tags/tag37.xml"/><Relationship Id="rId24" Type="http://schemas.openxmlformats.org/officeDocument/2006/relationships/tags" Target="../tags/tag38.xml"/><Relationship Id="rId25" Type="http://schemas.openxmlformats.org/officeDocument/2006/relationships/tags" Target="../tags/tag39.xml"/><Relationship Id="rId26" Type="http://schemas.openxmlformats.org/officeDocument/2006/relationships/tags" Target="../tags/tag40.xml"/><Relationship Id="rId27" Type="http://schemas.openxmlformats.org/officeDocument/2006/relationships/tags" Target="../tags/tag41.xml"/><Relationship Id="rId28" Type="http://schemas.openxmlformats.org/officeDocument/2006/relationships/tags" Target="../tags/tag42.xml"/><Relationship Id="rId29" Type="http://schemas.openxmlformats.org/officeDocument/2006/relationships/tags" Target="../tags/tag43.xml"/><Relationship Id="rId73" Type="http://schemas.openxmlformats.org/officeDocument/2006/relationships/tags" Target="../tags/tag87.xml"/><Relationship Id="rId74" Type="http://schemas.openxmlformats.org/officeDocument/2006/relationships/tags" Target="../tags/tag88.xml"/><Relationship Id="rId75" Type="http://schemas.openxmlformats.org/officeDocument/2006/relationships/tags" Target="../tags/tag89.xml"/><Relationship Id="rId76" Type="http://schemas.openxmlformats.org/officeDocument/2006/relationships/tags" Target="../tags/tag90.xml"/><Relationship Id="rId77" Type="http://schemas.openxmlformats.org/officeDocument/2006/relationships/tags" Target="../tags/tag91.xml"/><Relationship Id="rId78" Type="http://schemas.openxmlformats.org/officeDocument/2006/relationships/tags" Target="../tags/tag92.xml"/><Relationship Id="rId79" Type="http://schemas.openxmlformats.org/officeDocument/2006/relationships/tags" Target="../tags/tag93.xml"/><Relationship Id="rId60" Type="http://schemas.openxmlformats.org/officeDocument/2006/relationships/tags" Target="../tags/tag74.xml"/><Relationship Id="rId61" Type="http://schemas.openxmlformats.org/officeDocument/2006/relationships/tags" Target="../tags/tag75.xml"/><Relationship Id="rId62" Type="http://schemas.openxmlformats.org/officeDocument/2006/relationships/tags" Target="../tags/tag76.xml"/><Relationship Id="rId10" Type="http://schemas.openxmlformats.org/officeDocument/2006/relationships/tags" Target="../tags/tag24.xml"/><Relationship Id="rId11" Type="http://schemas.openxmlformats.org/officeDocument/2006/relationships/tags" Target="../tags/tag25.xml"/><Relationship Id="rId12" Type="http://schemas.openxmlformats.org/officeDocument/2006/relationships/tags" Target="../tags/tag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4" Type="http://schemas.openxmlformats.org/officeDocument/2006/relationships/image" Target="../media/image1.jpeg"/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4" Type="http://schemas.openxmlformats.org/officeDocument/2006/relationships/tags" Target="../tags/tag100.xml"/><Relationship Id="rId5" Type="http://schemas.openxmlformats.org/officeDocument/2006/relationships/tags" Target="../tags/tag101.xml"/><Relationship Id="rId6" Type="http://schemas.openxmlformats.org/officeDocument/2006/relationships/slideLayout" Target="../slideLayouts/slideLayout16.xml"/><Relationship Id="rId7" Type="http://schemas.openxmlformats.org/officeDocument/2006/relationships/chart" Target="../charts/chart2.xml"/><Relationship Id="rId1" Type="http://schemas.openxmlformats.org/officeDocument/2006/relationships/tags" Target="../tags/tag97.xml"/><Relationship Id="rId2" Type="http://schemas.openxmlformats.org/officeDocument/2006/relationships/tags" Target="../tags/tag9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4" Type="http://schemas.openxmlformats.org/officeDocument/2006/relationships/image" Target="../media/image1.jpeg"/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4" Type="http://schemas.openxmlformats.org/officeDocument/2006/relationships/tags" Target="../tags/tag105.xml"/><Relationship Id="rId5" Type="http://schemas.openxmlformats.org/officeDocument/2006/relationships/tags" Target="../tags/tag106.xml"/><Relationship Id="rId6" Type="http://schemas.openxmlformats.org/officeDocument/2006/relationships/tags" Target="../tags/tag107.xml"/><Relationship Id="rId7" Type="http://schemas.openxmlformats.org/officeDocument/2006/relationships/tags" Target="../tags/tag108.xml"/><Relationship Id="rId8" Type="http://schemas.openxmlformats.org/officeDocument/2006/relationships/tags" Target="../tags/tag109.xml"/><Relationship Id="rId9" Type="http://schemas.openxmlformats.org/officeDocument/2006/relationships/slideLayout" Target="../slideLayouts/slideLayout16.xml"/><Relationship Id="rId10" Type="http://schemas.openxmlformats.org/officeDocument/2006/relationships/chart" Target="../charts/chart3.xml"/><Relationship Id="rId1" Type="http://schemas.openxmlformats.org/officeDocument/2006/relationships/tags" Target="../tags/tag102.xml"/><Relationship Id="rId2" Type="http://schemas.openxmlformats.org/officeDocument/2006/relationships/tags" Target="../tags/tag10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.jpeg"/><Relationship Id="rId1" Type="http://schemas.openxmlformats.org/officeDocument/2006/relationships/slideLayout" Target="../slideLayouts/slideLayout17.xml"/><Relationship Id="rId2" Type="http://schemas.openxmlformats.org/officeDocument/2006/relationships/notesSlide" Target="../notesSlides/notesSlide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4" Type="http://schemas.openxmlformats.org/officeDocument/2006/relationships/image" Target="../media/image14.jpeg"/><Relationship Id="rId5" Type="http://schemas.openxmlformats.org/officeDocument/2006/relationships/image" Target="../media/image15.jpeg"/><Relationship Id="rId6" Type="http://schemas.openxmlformats.org/officeDocument/2006/relationships/image" Target="../media/image1.jpe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slideLayout" Target="../slideLayouts/slideLayout16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1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1.vml"/><Relationship Id="rId2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1.jpeg"/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3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4" Type="http://schemas.openxmlformats.org/officeDocument/2006/relationships/image" Target="../media/image1.jpeg"/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4" Type="http://schemas.openxmlformats.org/officeDocument/2006/relationships/tags" Target="../tags/tag8.xml"/><Relationship Id="rId5" Type="http://schemas.openxmlformats.org/officeDocument/2006/relationships/tags" Target="../tags/tag9.xml"/><Relationship Id="rId6" Type="http://schemas.openxmlformats.org/officeDocument/2006/relationships/slideLayout" Target="../slideLayouts/slideLayout16.xml"/><Relationship Id="rId7" Type="http://schemas.openxmlformats.org/officeDocument/2006/relationships/chart" Target="../charts/chart1.xml"/><Relationship Id="rId1" Type="http://schemas.openxmlformats.org/officeDocument/2006/relationships/tags" Target="../tags/tag5.xml"/><Relationship Id="rId2" Type="http://schemas.openxmlformats.org/officeDocument/2006/relationships/tags" Target="../tags/tag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4" Type="http://schemas.openxmlformats.org/officeDocument/2006/relationships/tags" Target="../tags/tag12.xml"/><Relationship Id="rId5" Type="http://schemas.openxmlformats.org/officeDocument/2006/relationships/tags" Target="../tags/tag13.xml"/><Relationship Id="rId6" Type="http://schemas.openxmlformats.org/officeDocument/2006/relationships/tags" Target="../tags/tag14.xml"/><Relationship Id="rId7" Type="http://schemas.openxmlformats.org/officeDocument/2006/relationships/slideLayout" Target="../slideLayouts/slideLayout16.xml"/><Relationship Id="rId8" Type="http://schemas.openxmlformats.org/officeDocument/2006/relationships/oleObject" Target="../embeddings/oleObject2.bin"/><Relationship Id="rId9" Type="http://schemas.openxmlformats.org/officeDocument/2006/relationships/package" Target="../embeddings/Microsoft_Excel_Worksheet2.xlsx"/><Relationship Id="rId10" Type="http://schemas.openxmlformats.org/officeDocument/2006/relationships/image" Target="../media/image7.emf"/><Relationship Id="rId1" Type="http://schemas.openxmlformats.org/officeDocument/2006/relationships/vmlDrawing" Target="../drawings/vmlDrawing2.vml"/><Relationship Id="rId2" Type="http://schemas.openxmlformats.org/officeDocument/2006/relationships/tags" Target="../tags/tag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4" Type="http://schemas.openxmlformats.org/officeDocument/2006/relationships/image" Target="../media/image1.jpeg"/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Subtitle 2"/>
          <p:cNvSpPr>
            <a:spLocks noGrp="1"/>
          </p:cNvSpPr>
          <p:nvPr>
            <p:ph type="subTitle" idx="1"/>
          </p:nvPr>
        </p:nvSpPr>
        <p:spPr>
          <a:xfrm>
            <a:off x="323850" y="2860675"/>
            <a:ext cx="8501063" cy="1152525"/>
          </a:xfrm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eaLnBrk="1" hangingPunct="1">
              <a:spcAft>
                <a:spcPct val="0"/>
              </a:spcAft>
            </a:pPr>
            <a:endParaRPr lang="en-US" altLang="en-US" b="1" dirty="0" smtClean="0">
              <a:solidFill>
                <a:srgbClr val="E95E0F"/>
              </a:solidFill>
              <a:latin typeface="Arial" charset="0"/>
              <a:cs typeface="Arial" charset="0"/>
            </a:endParaRPr>
          </a:p>
          <a:p>
            <a:pPr eaLnBrk="1" hangingPunct="1">
              <a:spcAft>
                <a:spcPct val="0"/>
              </a:spcAft>
            </a:pPr>
            <a:endParaRPr lang="en-US" altLang="en-US" sz="3000" b="1" dirty="0" smtClean="0">
              <a:solidFill>
                <a:srgbClr val="E95E0F"/>
              </a:solidFill>
              <a:latin typeface="Arial" charset="0"/>
              <a:cs typeface="Arial" charset="0"/>
            </a:endParaRPr>
          </a:p>
        </p:txBody>
      </p:sp>
      <p:pic>
        <p:nvPicPr>
          <p:cNvPr id="4098" name="Picture 2" descr="C:\Users\cathy.buena\Downloads\shutterstock_195021491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226"/>
          <a:stretch/>
        </p:blipFill>
        <p:spPr bwMode="auto">
          <a:xfrm>
            <a:off x="-1" y="-1"/>
            <a:ext cx="9148763" cy="5145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13435" y="2914740"/>
            <a:ext cx="4135328" cy="1009650"/>
          </a:xfrm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rtlCol="0">
            <a:noAutofit/>
          </a:bodyPr>
          <a:lstStyle/>
          <a:p>
            <a:pPr defTabSz="914675" eaLnBrk="1" fontAlgn="auto" hangingPunct="1">
              <a:spcAft>
                <a:spcPts val="0"/>
              </a:spcAft>
              <a:defRPr/>
            </a:pPr>
            <a:r>
              <a:rPr lang="en-US" sz="4000" b="1" dirty="0" smtClean="0">
                <a:ln>
                  <a:solidFill>
                    <a:schemeClr val="tx1"/>
                  </a:solidFill>
                </a:ln>
              </a:rPr>
              <a:t>SHOPPER BEHAVIORS</a:t>
            </a:r>
            <a:br>
              <a:rPr lang="en-US" sz="4000" b="1" dirty="0" smtClean="0">
                <a:ln>
                  <a:solidFill>
                    <a:schemeClr val="tx1"/>
                  </a:solidFill>
                </a:ln>
              </a:rPr>
            </a:br>
            <a:r>
              <a:rPr lang="en-US" sz="2000" b="1" dirty="0" smtClean="0">
                <a:ln>
                  <a:solidFill>
                    <a:schemeClr val="tx1"/>
                  </a:solidFill>
                </a:ln>
              </a:rPr>
              <a:t>ON RETAILER SITES AND APPS</a:t>
            </a:r>
            <a:endParaRPr lang="en-US" sz="2000" b="1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32570" y="1576935"/>
            <a:ext cx="832202" cy="83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2831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021" y="183606"/>
            <a:ext cx="7852907" cy="576283"/>
          </a:xfrm>
        </p:spPr>
        <p:txBody>
          <a:bodyPr/>
          <a:lstStyle/>
          <a:p>
            <a:r>
              <a:rPr lang="en-US" b="1" dirty="0" smtClean="0"/>
              <a:t>#2: Age 60+ are 35% more likely to use Grocery digital properties than their average digital use across retail categories</a:t>
            </a:r>
            <a:endParaRPr lang="en-US" b="1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323847" y="853741"/>
            <a:ext cx="8503920" cy="2743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102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10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162" indent="-180054" algn="l" defTabSz="914675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sz="1200" dirty="0" smtClean="0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7579103"/>
              </p:ext>
            </p:extLst>
          </p:nvPr>
        </p:nvGraphicFramePr>
        <p:xfrm>
          <a:off x="129192" y="1781293"/>
          <a:ext cx="3333249" cy="2232566"/>
        </p:xfrm>
        <a:graphic>
          <a:graphicData uri="http://schemas.openxmlformats.org/drawingml/2006/table">
            <a:tbl>
              <a:tblPr/>
              <a:tblGrid>
                <a:gridCol w="1020601"/>
                <a:gridCol w="578728"/>
                <a:gridCol w="594487"/>
                <a:gridCol w="582102"/>
                <a:gridCol w="557331"/>
              </a:tblGrid>
              <a:tr h="318938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5947" marR="15947" marT="159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-29</a:t>
                      </a:r>
                    </a:p>
                  </a:txBody>
                  <a:tcPr marL="15947" marR="15947" marT="159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-44</a:t>
                      </a:r>
                    </a:p>
                  </a:txBody>
                  <a:tcPr marL="15947" marR="15947" marT="159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5-59</a:t>
                      </a:r>
                    </a:p>
                  </a:txBody>
                  <a:tcPr marL="15947" marR="15947" marT="159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0+</a:t>
                      </a:r>
                    </a:p>
                  </a:txBody>
                  <a:tcPr marL="15947" marR="15947" marT="159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8938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-Tailer</a:t>
                      </a:r>
                    </a:p>
                  </a:txBody>
                  <a:tcPr marL="15947" marR="143522" marT="15947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2</a:t>
                      </a:r>
                    </a:p>
                  </a:txBody>
                  <a:tcPr marL="15947" marR="15947" marT="159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B9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8</a:t>
                      </a:r>
                    </a:p>
                  </a:txBody>
                  <a:tcPr marL="15947" marR="15947" marT="159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C39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8</a:t>
                      </a:r>
                    </a:p>
                  </a:txBody>
                  <a:tcPr marL="15947" marR="15947" marT="159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C39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4</a:t>
                      </a:r>
                    </a:p>
                  </a:txBody>
                  <a:tcPr marL="15947" marR="15947" marT="159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B582"/>
                    </a:solidFill>
                  </a:tcPr>
                </a:tc>
              </a:tr>
              <a:tr h="318938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igBox</a:t>
                      </a:r>
                    </a:p>
                  </a:txBody>
                  <a:tcPr marL="15947" marR="143522" marT="15947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6</a:t>
                      </a:r>
                    </a:p>
                  </a:txBody>
                  <a:tcPr marL="15947" marR="15947" marT="159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AF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0</a:t>
                      </a:r>
                    </a:p>
                  </a:txBody>
                  <a:tcPr marL="15947" marR="15947" marT="159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A6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4</a:t>
                      </a:r>
                    </a:p>
                  </a:txBody>
                  <a:tcPr marL="15947" marR="15947" marT="159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C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8</a:t>
                      </a:r>
                    </a:p>
                  </a:txBody>
                  <a:tcPr marL="15947" marR="15947" marT="159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BC1"/>
                    </a:solidFill>
                  </a:tcPr>
                </a:tc>
              </a:tr>
              <a:tr h="318938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ome</a:t>
                      </a:r>
                    </a:p>
                  </a:txBody>
                  <a:tcPr marL="15947" marR="143522" marT="15947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1</a:t>
                      </a:r>
                    </a:p>
                  </a:txBody>
                  <a:tcPr marL="15947" marR="15947" marT="159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7</a:t>
                      </a:r>
                    </a:p>
                  </a:txBody>
                  <a:tcPr marL="15947" marR="15947" marT="159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C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4</a:t>
                      </a:r>
                    </a:p>
                  </a:txBody>
                  <a:tcPr marL="15947" marR="15947" marT="159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873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2</a:t>
                      </a:r>
                    </a:p>
                  </a:txBody>
                  <a:tcPr marL="15947" marR="15947" marT="159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B989"/>
                    </a:solidFill>
                  </a:tcPr>
                </a:tc>
              </a:tr>
              <a:tr h="318938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rug</a:t>
                      </a:r>
                    </a:p>
                  </a:txBody>
                  <a:tcPr marL="15947" marR="143522" marT="15947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1</a:t>
                      </a:r>
                    </a:p>
                  </a:txBody>
                  <a:tcPr marL="15947" marR="15947" marT="159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B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6</a:t>
                      </a:r>
                    </a:p>
                  </a:txBody>
                  <a:tcPr marL="15947" marR="15947" marT="159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C7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2</a:t>
                      </a:r>
                    </a:p>
                  </a:txBody>
                  <a:tcPr marL="15947" marR="15947" marT="159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B9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1</a:t>
                      </a:r>
                    </a:p>
                  </a:txBody>
                  <a:tcPr marL="15947" marR="15947" marT="159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B8E"/>
                    </a:solidFill>
                  </a:tcPr>
                </a:tc>
              </a:tr>
              <a:tr h="318938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rocery</a:t>
                      </a:r>
                    </a:p>
                  </a:txBody>
                  <a:tcPr marL="15947" marR="143522" marT="15947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7</a:t>
                      </a:r>
                    </a:p>
                  </a:txBody>
                  <a:tcPr marL="15947" marR="15947" marT="159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C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5</a:t>
                      </a:r>
                    </a:p>
                  </a:txBody>
                  <a:tcPr marL="15947" marR="15947" marT="159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A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9</a:t>
                      </a:r>
                    </a:p>
                  </a:txBody>
                  <a:tcPr marL="15947" marR="15947" marT="159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D7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5</a:t>
                      </a:r>
                    </a:p>
                  </a:txBody>
                  <a:tcPr marL="15947" marR="15947" marT="159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6B0A"/>
                    </a:solidFill>
                  </a:tcPr>
                </a:tc>
              </a:tr>
              <a:tr h="318938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V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5947" marR="143522" marT="159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5947" marR="15947" marT="159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5947" marR="15947" marT="159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5947" marR="15947" marT="159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5947" marR="15947" marT="159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23848" y="1484406"/>
            <a:ext cx="1718708" cy="2493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rPr>
              <a:t>AGE</a:t>
            </a:r>
            <a:endParaRPr lang="en-US" sz="1200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785756" y="1460661"/>
            <a:ext cx="3930732" cy="3301340"/>
          </a:xfrm>
          <a:prstGeom prst="round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endParaRPr lang="en-US" sz="1600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en-US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rPr>
              <a:t>This observation leads to great questions about the grocery category:</a:t>
            </a:r>
          </a:p>
          <a:p>
            <a:pPr algn="ctr">
              <a:spcBef>
                <a:spcPts val="300"/>
              </a:spcBef>
            </a:pPr>
            <a:endParaRPr lang="en-US" sz="1600" b="1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ctr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rPr>
              <a:t>Why do 60+ over-index?</a:t>
            </a:r>
          </a:p>
          <a:p>
            <a:pPr marL="285750" indent="-285750" algn="ctr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ctr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rPr>
              <a:t>Why do all other age groups under-index?</a:t>
            </a:r>
          </a:p>
        </p:txBody>
      </p:sp>
    </p:spTree>
    <p:extLst>
      <p:ext uri="{BB962C8B-B14F-4D97-AF65-F5344CB8AC3E}">
        <p14:creationId xmlns:p14="http://schemas.microsoft.com/office/powerpoint/2010/main" val="3992020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3"/>
          <p:cNvSpPr/>
          <p:nvPr/>
        </p:nvSpPr>
        <p:spPr bwMode="gray">
          <a:xfrm>
            <a:off x="324559" y="4949608"/>
            <a:ext cx="7059675" cy="144044"/>
          </a:xfrm>
          <a:prstGeom prst="rect">
            <a:avLst/>
          </a:prstGeom>
          <a:noFill/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>
                <a:solidFill>
                  <a:srgbClr val="FFFFFF"/>
                </a:solidFill>
              </a:rPr>
              <a:t>© GfK 2014 </a:t>
            </a:r>
            <a:r>
              <a:rPr lang="en-GB" sz="800" dirty="0">
                <a:solidFill>
                  <a:srgbClr val="FFFFFF"/>
                </a:solidFill>
              </a:rPr>
              <a:t>Big Data in Market Research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24559" y="2572544"/>
            <a:ext cx="7132505" cy="450487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54"/>
            <a:ext cx="9148763" cy="5315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hteck 227"/>
          <p:cNvSpPr/>
          <p:nvPr/>
        </p:nvSpPr>
        <p:spPr bwMode="gray">
          <a:xfrm>
            <a:off x="0" y="853"/>
            <a:ext cx="9148763" cy="5145088"/>
          </a:xfrm>
          <a:prstGeom prst="rect">
            <a:avLst/>
          </a:prstGeom>
          <a:solidFill>
            <a:srgbClr val="FFFFFF">
              <a:alpha val="4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77" tIns="45738" rIns="91477" bIns="457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</a:pPr>
            <a:endParaRPr lang="de-DE" sz="16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89313" y="195548"/>
            <a:ext cx="576379" cy="576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474647" y="3679794"/>
            <a:ext cx="4743018" cy="1351175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54000"/>
                </a:schemeClr>
              </a:gs>
              <a:gs pos="43000">
                <a:schemeClr val="accent1">
                  <a:tint val="66000"/>
                  <a:satMod val="160000"/>
                  <a:alpha val="54000"/>
                </a:schemeClr>
              </a:gs>
              <a:gs pos="100000">
                <a:schemeClr val="accent1">
                  <a:tint val="23500"/>
                  <a:satMod val="160000"/>
                  <a:alpha val="54000"/>
                </a:schemeClr>
              </a:gs>
            </a:gsLst>
            <a:lin ang="5400000" scaled="0"/>
          </a:gradFill>
        </p:spPr>
        <p:txBody>
          <a:bodyPr wrap="square" lIns="91477" tIns="45738" rIns="91477" bIns="45738">
            <a:spAutoFit/>
          </a:bodyPr>
          <a:lstStyle/>
          <a:p>
            <a:pPr algn="ctr" defTabSz="489146">
              <a:lnSpc>
                <a:spcPct val="90000"/>
              </a:lnSpc>
              <a:spcAft>
                <a:spcPct val="35000"/>
              </a:spcAft>
            </a:pPr>
            <a:r>
              <a:rPr lang="en-GB" sz="2800" b="1" dirty="0" smtClean="0">
                <a:ln>
                  <a:solidFill>
                    <a:schemeClr val="tx1"/>
                  </a:solidFill>
                </a:ln>
                <a:solidFill>
                  <a:schemeClr val="tx2"/>
                </a:solidFill>
              </a:rPr>
              <a:t>Retail Category      Digital Engagement</a:t>
            </a:r>
            <a:endParaRPr lang="en-GB" sz="2800" b="1" dirty="0">
              <a:ln>
                <a:solidFill>
                  <a:schemeClr val="tx1"/>
                </a:solidFill>
              </a:ln>
              <a:solidFill>
                <a:schemeClr val="tx2"/>
              </a:solidFill>
            </a:endParaRPr>
          </a:p>
          <a:p>
            <a:pPr algn="ctr" defTabSz="489146">
              <a:lnSpc>
                <a:spcPct val="90000"/>
              </a:lnSpc>
              <a:spcAft>
                <a:spcPct val="35000"/>
              </a:spcAft>
            </a:pPr>
            <a:r>
              <a:rPr lang="en-GB" sz="24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ites vs. Apps</a:t>
            </a:r>
            <a:endParaRPr lang="en-GB" sz="24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6827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#3: More users </a:t>
            </a:r>
            <a:r>
              <a:rPr lang="en-US" b="1" dirty="0"/>
              <a:t>of the </a:t>
            </a:r>
            <a:r>
              <a:rPr lang="en-US" b="1" dirty="0">
                <a:solidFill>
                  <a:srgbClr val="E95E0F"/>
                </a:solidFill>
              </a:rPr>
              <a:t>web/browser version </a:t>
            </a:r>
            <a:r>
              <a:rPr lang="en-US" b="1" dirty="0"/>
              <a:t>than the app </a:t>
            </a:r>
            <a:r>
              <a:rPr lang="en-US" b="1" dirty="0" smtClean="0"/>
              <a:t>version</a:t>
            </a:r>
            <a:endParaRPr lang="en-US" dirty="0"/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323847" y="853741"/>
            <a:ext cx="8503920" cy="2743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102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10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162" indent="-180054" algn="l" defTabSz="914675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sz="1200" dirty="0" smtClean="0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1158337"/>
              </p:ext>
            </p:extLst>
          </p:nvPr>
        </p:nvGraphicFramePr>
        <p:xfrm>
          <a:off x="822597" y="1063259"/>
          <a:ext cx="7549493" cy="3431895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920589"/>
                <a:gridCol w="1270660"/>
                <a:gridCol w="4358244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CATEGORY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APP USER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WEB/BROWSER</a:t>
                      </a:r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</a:rPr>
                        <a:t> USER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E95E0F"/>
                    </a:solidFill>
                  </a:tcPr>
                </a:tc>
              </a:tr>
              <a:tr h="631515">
                <a:tc>
                  <a:txBody>
                    <a:bodyPr/>
                    <a:lstStyle/>
                    <a:p>
                      <a:pPr marL="690563" indent="0"/>
                      <a:r>
                        <a:rPr lang="en-US" dirty="0" smtClean="0"/>
                        <a:t>E-</a:t>
                      </a:r>
                      <a:r>
                        <a:rPr lang="en-US" dirty="0" err="1" smtClean="0"/>
                        <a:t>tailer</a:t>
                      </a:r>
                      <a:endParaRPr lang="en-US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 smtClean="0">
                          <a:solidFill>
                            <a:srgbClr val="0070C0"/>
                          </a:solidFill>
                        </a:rPr>
                        <a:t>1</a:t>
                      </a:r>
                      <a:r>
                        <a:rPr lang="en-US" sz="1000" b="1" baseline="0" dirty="0" smtClean="0">
                          <a:solidFill>
                            <a:srgbClr val="0070C0"/>
                          </a:solidFill>
                        </a:rPr>
                        <a:t> APP USER</a:t>
                      </a:r>
                      <a:endParaRPr lang="en-US" sz="1000" b="1" dirty="0">
                        <a:solidFill>
                          <a:srgbClr val="0070C0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6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rgbClr val="E95E0F"/>
                          </a:solidFill>
                        </a:rPr>
                        <a:t>18 WEB</a:t>
                      </a:r>
                      <a:r>
                        <a:rPr lang="en-US" sz="1000" b="1" baseline="0" dirty="0" smtClean="0">
                          <a:solidFill>
                            <a:srgbClr val="E95E0F"/>
                          </a:solidFill>
                        </a:rPr>
                        <a:t> USERS</a:t>
                      </a:r>
                      <a:endParaRPr lang="en-US" sz="1000" b="1" dirty="0" smtClean="0">
                        <a:solidFill>
                          <a:srgbClr val="E95E0F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631515">
                <a:tc>
                  <a:txBody>
                    <a:bodyPr/>
                    <a:lstStyle/>
                    <a:p>
                      <a:pPr marL="690563" indent="0"/>
                      <a:r>
                        <a:rPr lang="en-US" dirty="0" smtClean="0"/>
                        <a:t>Big Box</a:t>
                      </a:r>
                      <a:endParaRPr lang="en-US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 smtClean="0">
                          <a:solidFill>
                            <a:srgbClr val="0070C0"/>
                          </a:solidFill>
                        </a:rPr>
                        <a:t>1</a:t>
                      </a:r>
                      <a:r>
                        <a:rPr lang="en-US" sz="1000" b="1" baseline="0" dirty="0" smtClean="0">
                          <a:solidFill>
                            <a:srgbClr val="0070C0"/>
                          </a:solidFill>
                        </a:rPr>
                        <a:t> APP USER</a:t>
                      </a:r>
                      <a:endParaRPr lang="en-US" sz="1000" b="1" dirty="0">
                        <a:solidFill>
                          <a:srgbClr val="0070C0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6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rgbClr val="E95E0F"/>
                          </a:solidFill>
                        </a:rPr>
                        <a:t>5 WEB</a:t>
                      </a:r>
                      <a:r>
                        <a:rPr lang="en-US" sz="1000" b="1" baseline="0" dirty="0" smtClean="0">
                          <a:solidFill>
                            <a:srgbClr val="E95E0F"/>
                          </a:solidFill>
                        </a:rPr>
                        <a:t> USERS</a:t>
                      </a:r>
                      <a:endParaRPr lang="en-US" sz="1000" b="1" dirty="0" smtClean="0">
                        <a:solidFill>
                          <a:srgbClr val="E95E0F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631515">
                <a:tc>
                  <a:txBody>
                    <a:bodyPr/>
                    <a:lstStyle/>
                    <a:p>
                      <a:pPr marL="690563" indent="0"/>
                      <a:r>
                        <a:rPr lang="en-US" dirty="0" smtClean="0"/>
                        <a:t>Home</a:t>
                      </a:r>
                      <a:endParaRPr lang="en-US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 smtClean="0">
                          <a:solidFill>
                            <a:srgbClr val="0070C0"/>
                          </a:solidFill>
                        </a:rPr>
                        <a:t>1</a:t>
                      </a:r>
                      <a:r>
                        <a:rPr lang="en-US" sz="1000" b="1" baseline="0" dirty="0" smtClean="0">
                          <a:solidFill>
                            <a:srgbClr val="0070C0"/>
                          </a:solidFill>
                        </a:rPr>
                        <a:t> APP USER</a:t>
                      </a:r>
                      <a:endParaRPr lang="en-US" sz="1000" b="1" dirty="0">
                        <a:solidFill>
                          <a:srgbClr val="0070C0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rgbClr val="E95E0F"/>
                          </a:solidFill>
                        </a:rPr>
                        <a:t>38 WEB</a:t>
                      </a:r>
                      <a:r>
                        <a:rPr lang="en-US" sz="1000" b="1" baseline="0" dirty="0" smtClean="0">
                          <a:solidFill>
                            <a:srgbClr val="E95E0F"/>
                          </a:solidFill>
                        </a:rPr>
                        <a:t> USERS</a:t>
                      </a:r>
                      <a:endParaRPr lang="en-US" sz="1000" b="1" dirty="0">
                        <a:solidFill>
                          <a:srgbClr val="E95E0F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631515">
                <a:tc>
                  <a:txBody>
                    <a:bodyPr/>
                    <a:lstStyle/>
                    <a:p>
                      <a:pPr marL="690563" indent="0"/>
                      <a:r>
                        <a:rPr lang="en-US" dirty="0" smtClean="0"/>
                        <a:t>Drug</a:t>
                      </a:r>
                      <a:endParaRPr lang="en-US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 smtClean="0">
                          <a:solidFill>
                            <a:srgbClr val="0070C0"/>
                          </a:solidFill>
                        </a:rPr>
                        <a:t>1</a:t>
                      </a:r>
                      <a:r>
                        <a:rPr lang="en-US" sz="1000" b="1" baseline="0" dirty="0" smtClean="0">
                          <a:solidFill>
                            <a:srgbClr val="0070C0"/>
                          </a:solidFill>
                        </a:rPr>
                        <a:t> APP USER</a:t>
                      </a:r>
                      <a:endParaRPr lang="en-US" sz="1000" b="1" dirty="0">
                        <a:solidFill>
                          <a:srgbClr val="0070C0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6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rgbClr val="E95E0F"/>
                          </a:solidFill>
                        </a:rPr>
                        <a:t>5 WEB</a:t>
                      </a:r>
                      <a:r>
                        <a:rPr lang="en-US" sz="1000" b="1" baseline="0" dirty="0" smtClean="0">
                          <a:solidFill>
                            <a:srgbClr val="E95E0F"/>
                          </a:solidFill>
                        </a:rPr>
                        <a:t> USERS</a:t>
                      </a:r>
                      <a:endParaRPr lang="en-US" sz="1000" b="1" dirty="0" smtClean="0">
                        <a:solidFill>
                          <a:srgbClr val="E95E0F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631515">
                <a:tc>
                  <a:txBody>
                    <a:bodyPr/>
                    <a:lstStyle/>
                    <a:p>
                      <a:pPr marL="690563" indent="0"/>
                      <a:r>
                        <a:rPr lang="en-US" dirty="0" smtClean="0"/>
                        <a:t>Grocery</a:t>
                      </a:r>
                      <a:endParaRPr lang="en-US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 smtClean="0">
                          <a:solidFill>
                            <a:srgbClr val="0070C0"/>
                          </a:solidFill>
                        </a:rPr>
                        <a:t>1</a:t>
                      </a:r>
                      <a:r>
                        <a:rPr lang="en-US" sz="1000" b="1" baseline="0" dirty="0" smtClean="0">
                          <a:solidFill>
                            <a:srgbClr val="0070C0"/>
                          </a:solidFill>
                        </a:rPr>
                        <a:t> APP USER</a:t>
                      </a:r>
                      <a:endParaRPr lang="en-US" sz="1000" b="1" dirty="0">
                        <a:solidFill>
                          <a:srgbClr val="0070C0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6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rgbClr val="E95E0F"/>
                          </a:solidFill>
                        </a:rPr>
                        <a:t>6 WEB</a:t>
                      </a:r>
                      <a:r>
                        <a:rPr lang="en-US" sz="1000" b="1" baseline="0" dirty="0" smtClean="0">
                          <a:solidFill>
                            <a:srgbClr val="E95E0F"/>
                          </a:solidFill>
                        </a:rPr>
                        <a:t> USERS</a:t>
                      </a:r>
                      <a:endParaRPr lang="en-US" sz="1000" b="1" dirty="0" smtClean="0">
                        <a:solidFill>
                          <a:srgbClr val="E95E0F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5" name="Freeform 92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2914388" y="1535580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Freeform 92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2914387" y="2173533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Freeform 92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2914386" y="2793766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Freeform 92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2914388" y="3431719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Freeform 92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2914384" y="4059040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Freeform 23"/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1076983" y="3956925"/>
            <a:ext cx="449905" cy="418458"/>
          </a:xfrm>
          <a:custGeom>
            <a:avLst/>
            <a:gdLst>
              <a:gd name="T0" fmla="*/ 1560 w 1920"/>
              <a:gd name="T1" fmla="*/ 1786 h 1786"/>
              <a:gd name="T2" fmla="*/ 242 w 1920"/>
              <a:gd name="T3" fmla="*/ 1677 h 1786"/>
              <a:gd name="T4" fmla="*/ 0 w 1920"/>
              <a:gd name="T5" fmla="*/ 666 h 1786"/>
              <a:gd name="T6" fmla="*/ 1920 w 1920"/>
              <a:gd name="T7" fmla="*/ 872 h 1786"/>
              <a:gd name="T8" fmla="*/ 1800 w 1920"/>
              <a:gd name="T9" fmla="*/ 854 h 1786"/>
              <a:gd name="T10" fmla="*/ 1660 w 1920"/>
              <a:gd name="T11" fmla="*/ 826 h 1786"/>
              <a:gd name="T12" fmla="*/ 1742 w 1920"/>
              <a:gd name="T13" fmla="*/ 1046 h 1786"/>
              <a:gd name="T14" fmla="*/ 120 w 1920"/>
              <a:gd name="T15" fmla="*/ 826 h 1786"/>
              <a:gd name="T16" fmla="*/ 178 w 1920"/>
              <a:gd name="T17" fmla="*/ 1046 h 1786"/>
              <a:gd name="T18" fmla="*/ 260 w 1920"/>
              <a:gd name="T19" fmla="*/ 826 h 1786"/>
              <a:gd name="T20" fmla="*/ 214 w 1920"/>
              <a:gd name="T21" fmla="*/ 1166 h 1786"/>
              <a:gd name="T22" fmla="*/ 260 w 1920"/>
              <a:gd name="T23" fmla="*/ 1166 h 1786"/>
              <a:gd name="T24" fmla="*/ 380 w 1920"/>
              <a:gd name="T25" fmla="*/ 1666 h 1786"/>
              <a:gd name="T26" fmla="*/ 580 w 1920"/>
              <a:gd name="T27" fmla="*/ 1486 h 1786"/>
              <a:gd name="T28" fmla="*/ 380 w 1920"/>
              <a:gd name="T29" fmla="*/ 1666 h 1786"/>
              <a:gd name="T30" fmla="*/ 900 w 1920"/>
              <a:gd name="T31" fmla="*/ 1666 h 1786"/>
              <a:gd name="T32" fmla="*/ 700 w 1920"/>
              <a:gd name="T33" fmla="*/ 1486 h 1786"/>
              <a:gd name="T34" fmla="*/ 1020 w 1920"/>
              <a:gd name="T35" fmla="*/ 1666 h 1786"/>
              <a:gd name="T36" fmla="*/ 1220 w 1920"/>
              <a:gd name="T37" fmla="*/ 1486 h 1786"/>
              <a:gd name="T38" fmla="*/ 1020 w 1920"/>
              <a:gd name="T39" fmla="*/ 1666 h 1786"/>
              <a:gd name="T40" fmla="*/ 1540 w 1920"/>
              <a:gd name="T41" fmla="*/ 1666 h 1786"/>
              <a:gd name="T42" fmla="*/ 1340 w 1920"/>
              <a:gd name="T43" fmla="*/ 1486 h 1786"/>
              <a:gd name="T44" fmla="*/ 1660 w 1920"/>
              <a:gd name="T45" fmla="*/ 1322 h 1786"/>
              <a:gd name="T46" fmla="*/ 1660 w 1920"/>
              <a:gd name="T47" fmla="*/ 1166 h 1786"/>
              <a:gd name="T48" fmla="*/ 1540 w 1920"/>
              <a:gd name="T49" fmla="*/ 1366 h 1786"/>
              <a:gd name="T50" fmla="*/ 1340 w 1920"/>
              <a:gd name="T51" fmla="*/ 1166 h 1786"/>
              <a:gd name="T52" fmla="*/ 1540 w 1920"/>
              <a:gd name="T53" fmla="*/ 1366 h 1786"/>
              <a:gd name="T54" fmla="*/ 1220 w 1920"/>
              <a:gd name="T55" fmla="*/ 1166 h 1786"/>
              <a:gd name="T56" fmla="*/ 1020 w 1920"/>
              <a:gd name="T57" fmla="*/ 1366 h 1786"/>
              <a:gd name="T58" fmla="*/ 900 w 1920"/>
              <a:gd name="T59" fmla="*/ 1366 h 1786"/>
              <a:gd name="T60" fmla="*/ 700 w 1920"/>
              <a:gd name="T61" fmla="*/ 1166 h 1786"/>
              <a:gd name="T62" fmla="*/ 900 w 1920"/>
              <a:gd name="T63" fmla="*/ 1366 h 1786"/>
              <a:gd name="T64" fmla="*/ 580 w 1920"/>
              <a:gd name="T65" fmla="*/ 1166 h 1786"/>
              <a:gd name="T66" fmla="*/ 380 w 1920"/>
              <a:gd name="T67" fmla="*/ 1366 h 1786"/>
              <a:gd name="T68" fmla="*/ 380 w 1920"/>
              <a:gd name="T69" fmla="*/ 1046 h 1786"/>
              <a:gd name="T70" fmla="*/ 580 w 1920"/>
              <a:gd name="T71" fmla="*/ 826 h 1786"/>
              <a:gd name="T72" fmla="*/ 380 w 1920"/>
              <a:gd name="T73" fmla="*/ 1046 h 1786"/>
              <a:gd name="T74" fmla="*/ 598 w 1920"/>
              <a:gd name="T75" fmla="*/ 24 h 1786"/>
              <a:gd name="T76" fmla="*/ 682 w 1920"/>
              <a:gd name="T77" fmla="*/ 108 h 1786"/>
              <a:gd name="T78" fmla="*/ 35 w 1920"/>
              <a:gd name="T79" fmla="*/ 586 h 1786"/>
              <a:gd name="T80" fmla="*/ 1238 w 1920"/>
              <a:gd name="T81" fmla="*/ 108 h 1786"/>
              <a:gd name="T82" fmla="*/ 1322 w 1920"/>
              <a:gd name="T83" fmla="*/ 24 h 1786"/>
              <a:gd name="T84" fmla="*/ 1715 w 1920"/>
              <a:gd name="T85" fmla="*/ 586 h 1786"/>
              <a:gd name="T86" fmla="*/ 900 w 1920"/>
              <a:gd name="T87" fmla="*/ 1046 h 1786"/>
              <a:gd name="T88" fmla="*/ 700 w 1920"/>
              <a:gd name="T89" fmla="*/ 826 h 1786"/>
              <a:gd name="T90" fmla="*/ 1020 w 1920"/>
              <a:gd name="T91" fmla="*/ 1046 h 1786"/>
              <a:gd name="T92" fmla="*/ 1220 w 1920"/>
              <a:gd name="T93" fmla="*/ 826 h 1786"/>
              <a:gd name="T94" fmla="*/ 1020 w 1920"/>
              <a:gd name="T95" fmla="*/ 1046 h 1786"/>
              <a:gd name="T96" fmla="*/ 1540 w 1920"/>
              <a:gd name="T97" fmla="*/ 1046 h 1786"/>
              <a:gd name="T98" fmla="*/ 1340 w 1920"/>
              <a:gd name="T99" fmla="*/ 826 h 17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920" h="1786">
                <a:moveTo>
                  <a:pt x="1678" y="1677"/>
                </a:moveTo>
                <a:cubicBezTo>
                  <a:pt x="1661" y="1734"/>
                  <a:pt x="1625" y="1786"/>
                  <a:pt x="1560" y="1786"/>
                </a:cubicBezTo>
                <a:cubicBezTo>
                  <a:pt x="360" y="1786"/>
                  <a:pt x="360" y="1786"/>
                  <a:pt x="360" y="1786"/>
                </a:cubicBezTo>
                <a:cubicBezTo>
                  <a:pt x="295" y="1786"/>
                  <a:pt x="259" y="1734"/>
                  <a:pt x="242" y="1677"/>
                </a:cubicBezTo>
                <a:cubicBezTo>
                  <a:pt x="0" y="872"/>
                  <a:pt x="0" y="872"/>
                  <a:pt x="0" y="872"/>
                </a:cubicBezTo>
                <a:cubicBezTo>
                  <a:pt x="0" y="666"/>
                  <a:pt x="0" y="666"/>
                  <a:pt x="0" y="666"/>
                </a:cubicBezTo>
                <a:cubicBezTo>
                  <a:pt x="1920" y="666"/>
                  <a:pt x="1920" y="666"/>
                  <a:pt x="1920" y="666"/>
                </a:cubicBezTo>
                <a:cubicBezTo>
                  <a:pt x="1920" y="872"/>
                  <a:pt x="1920" y="872"/>
                  <a:pt x="1920" y="872"/>
                </a:cubicBezTo>
                <a:lnTo>
                  <a:pt x="1678" y="1677"/>
                </a:lnTo>
                <a:close/>
                <a:moveTo>
                  <a:pt x="1800" y="854"/>
                </a:moveTo>
                <a:cubicBezTo>
                  <a:pt x="1800" y="826"/>
                  <a:pt x="1800" y="826"/>
                  <a:pt x="1800" y="826"/>
                </a:cubicBezTo>
                <a:cubicBezTo>
                  <a:pt x="1660" y="826"/>
                  <a:pt x="1660" y="826"/>
                  <a:pt x="1660" y="826"/>
                </a:cubicBezTo>
                <a:cubicBezTo>
                  <a:pt x="1660" y="1046"/>
                  <a:pt x="1660" y="1046"/>
                  <a:pt x="1660" y="1046"/>
                </a:cubicBezTo>
                <a:cubicBezTo>
                  <a:pt x="1742" y="1046"/>
                  <a:pt x="1742" y="1046"/>
                  <a:pt x="1742" y="1046"/>
                </a:cubicBezTo>
                <a:lnTo>
                  <a:pt x="1800" y="854"/>
                </a:lnTo>
                <a:close/>
                <a:moveTo>
                  <a:pt x="120" y="826"/>
                </a:moveTo>
                <a:cubicBezTo>
                  <a:pt x="120" y="854"/>
                  <a:pt x="120" y="854"/>
                  <a:pt x="120" y="854"/>
                </a:cubicBezTo>
                <a:cubicBezTo>
                  <a:pt x="178" y="1046"/>
                  <a:pt x="178" y="1046"/>
                  <a:pt x="178" y="1046"/>
                </a:cubicBezTo>
                <a:cubicBezTo>
                  <a:pt x="260" y="1046"/>
                  <a:pt x="260" y="1046"/>
                  <a:pt x="260" y="1046"/>
                </a:cubicBezTo>
                <a:cubicBezTo>
                  <a:pt x="260" y="826"/>
                  <a:pt x="260" y="826"/>
                  <a:pt x="260" y="826"/>
                </a:cubicBezTo>
                <a:lnTo>
                  <a:pt x="120" y="826"/>
                </a:lnTo>
                <a:close/>
                <a:moveTo>
                  <a:pt x="214" y="1166"/>
                </a:moveTo>
                <a:cubicBezTo>
                  <a:pt x="260" y="1322"/>
                  <a:pt x="260" y="1322"/>
                  <a:pt x="260" y="1322"/>
                </a:cubicBezTo>
                <a:cubicBezTo>
                  <a:pt x="260" y="1166"/>
                  <a:pt x="260" y="1166"/>
                  <a:pt x="260" y="1166"/>
                </a:cubicBezTo>
                <a:lnTo>
                  <a:pt x="214" y="1166"/>
                </a:lnTo>
                <a:close/>
                <a:moveTo>
                  <a:pt x="380" y="1666"/>
                </a:moveTo>
                <a:cubicBezTo>
                  <a:pt x="580" y="1666"/>
                  <a:pt x="580" y="1666"/>
                  <a:pt x="580" y="1666"/>
                </a:cubicBezTo>
                <a:cubicBezTo>
                  <a:pt x="580" y="1486"/>
                  <a:pt x="580" y="1486"/>
                  <a:pt x="580" y="1486"/>
                </a:cubicBezTo>
                <a:cubicBezTo>
                  <a:pt x="380" y="1486"/>
                  <a:pt x="380" y="1486"/>
                  <a:pt x="380" y="1486"/>
                </a:cubicBezTo>
                <a:lnTo>
                  <a:pt x="380" y="1666"/>
                </a:lnTo>
                <a:close/>
                <a:moveTo>
                  <a:pt x="700" y="1666"/>
                </a:moveTo>
                <a:cubicBezTo>
                  <a:pt x="900" y="1666"/>
                  <a:pt x="900" y="1666"/>
                  <a:pt x="900" y="1666"/>
                </a:cubicBezTo>
                <a:cubicBezTo>
                  <a:pt x="900" y="1486"/>
                  <a:pt x="900" y="1486"/>
                  <a:pt x="900" y="1486"/>
                </a:cubicBezTo>
                <a:cubicBezTo>
                  <a:pt x="700" y="1486"/>
                  <a:pt x="700" y="1486"/>
                  <a:pt x="700" y="1486"/>
                </a:cubicBezTo>
                <a:lnTo>
                  <a:pt x="700" y="1666"/>
                </a:lnTo>
                <a:close/>
                <a:moveTo>
                  <a:pt x="1020" y="1666"/>
                </a:moveTo>
                <a:cubicBezTo>
                  <a:pt x="1220" y="1666"/>
                  <a:pt x="1220" y="1666"/>
                  <a:pt x="1220" y="1666"/>
                </a:cubicBezTo>
                <a:cubicBezTo>
                  <a:pt x="1220" y="1486"/>
                  <a:pt x="1220" y="1486"/>
                  <a:pt x="1220" y="1486"/>
                </a:cubicBezTo>
                <a:cubicBezTo>
                  <a:pt x="1020" y="1486"/>
                  <a:pt x="1020" y="1486"/>
                  <a:pt x="1020" y="1486"/>
                </a:cubicBezTo>
                <a:lnTo>
                  <a:pt x="1020" y="1666"/>
                </a:lnTo>
                <a:close/>
                <a:moveTo>
                  <a:pt x="1340" y="1666"/>
                </a:moveTo>
                <a:cubicBezTo>
                  <a:pt x="1540" y="1666"/>
                  <a:pt x="1540" y="1666"/>
                  <a:pt x="1540" y="1666"/>
                </a:cubicBezTo>
                <a:cubicBezTo>
                  <a:pt x="1540" y="1486"/>
                  <a:pt x="1540" y="1486"/>
                  <a:pt x="1540" y="1486"/>
                </a:cubicBezTo>
                <a:cubicBezTo>
                  <a:pt x="1340" y="1486"/>
                  <a:pt x="1340" y="1486"/>
                  <a:pt x="1340" y="1486"/>
                </a:cubicBezTo>
                <a:lnTo>
                  <a:pt x="1340" y="1666"/>
                </a:lnTo>
                <a:close/>
                <a:moveTo>
                  <a:pt x="1660" y="1322"/>
                </a:moveTo>
                <a:cubicBezTo>
                  <a:pt x="1706" y="1166"/>
                  <a:pt x="1706" y="1166"/>
                  <a:pt x="1706" y="1166"/>
                </a:cubicBezTo>
                <a:cubicBezTo>
                  <a:pt x="1660" y="1166"/>
                  <a:pt x="1660" y="1166"/>
                  <a:pt x="1660" y="1166"/>
                </a:cubicBezTo>
                <a:lnTo>
                  <a:pt x="1660" y="1322"/>
                </a:lnTo>
                <a:close/>
                <a:moveTo>
                  <a:pt x="1540" y="1366"/>
                </a:moveTo>
                <a:cubicBezTo>
                  <a:pt x="1540" y="1166"/>
                  <a:pt x="1540" y="1166"/>
                  <a:pt x="1540" y="1166"/>
                </a:cubicBezTo>
                <a:cubicBezTo>
                  <a:pt x="1340" y="1166"/>
                  <a:pt x="1340" y="1166"/>
                  <a:pt x="1340" y="1166"/>
                </a:cubicBezTo>
                <a:cubicBezTo>
                  <a:pt x="1340" y="1366"/>
                  <a:pt x="1340" y="1366"/>
                  <a:pt x="1340" y="1366"/>
                </a:cubicBezTo>
                <a:lnTo>
                  <a:pt x="1540" y="1366"/>
                </a:lnTo>
                <a:close/>
                <a:moveTo>
                  <a:pt x="1220" y="1366"/>
                </a:moveTo>
                <a:cubicBezTo>
                  <a:pt x="1220" y="1166"/>
                  <a:pt x="1220" y="1166"/>
                  <a:pt x="1220" y="1166"/>
                </a:cubicBezTo>
                <a:cubicBezTo>
                  <a:pt x="1020" y="1166"/>
                  <a:pt x="1020" y="1166"/>
                  <a:pt x="1020" y="1166"/>
                </a:cubicBezTo>
                <a:cubicBezTo>
                  <a:pt x="1020" y="1366"/>
                  <a:pt x="1020" y="1366"/>
                  <a:pt x="1020" y="1366"/>
                </a:cubicBezTo>
                <a:lnTo>
                  <a:pt x="1220" y="1366"/>
                </a:lnTo>
                <a:close/>
                <a:moveTo>
                  <a:pt x="900" y="1366"/>
                </a:moveTo>
                <a:cubicBezTo>
                  <a:pt x="900" y="1166"/>
                  <a:pt x="900" y="1166"/>
                  <a:pt x="900" y="1166"/>
                </a:cubicBezTo>
                <a:cubicBezTo>
                  <a:pt x="700" y="1166"/>
                  <a:pt x="700" y="1166"/>
                  <a:pt x="700" y="1166"/>
                </a:cubicBezTo>
                <a:cubicBezTo>
                  <a:pt x="700" y="1366"/>
                  <a:pt x="700" y="1366"/>
                  <a:pt x="700" y="1366"/>
                </a:cubicBezTo>
                <a:lnTo>
                  <a:pt x="900" y="1366"/>
                </a:lnTo>
                <a:close/>
                <a:moveTo>
                  <a:pt x="580" y="1366"/>
                </a:moveTo>
                <a:cubicBezTo>
                  <a:pt x="580" y="1166"/>
                  <a:pt x="580" y="1166"/>
                  <a:pt x="580" y="1166"/>
                </a:cubicBezTo>
                <a:cubicBezTo>
                  <a:pt x="380" y="1166"/>
                  <a:pt x="380" y="1166"/>
                  <a:pt x="380" y="1166"/>
                </a:cubicBezTo>
                <a:cubicBezTo>
                  <a:pt x="380" y="1366"/>
                  <a:pt x="380" y="1366"/>
                  <a:pt x="380" y="1366"/>
                </a:cubicBezTo>
                <a:lnTo>
                  <a:pt x="580" y="1366"/>
                </a:lnTo>
                <a:close/>
                <a:moveTo>
                  <a:pt x="380" y="1046"/>
                </a:moveTo>
                <a:cubicBezTo>
                  <a:pt x="580" y="1046"/>
                  <a:pt x="580" y="1046"/>
                  <a:pt x="580" y="1046"/>
                </a:cubicBezTo>
                <a:cubicBezTo>
                  <a:pt x="580" y="826"/>
                  <a:pt x="580" y="826"/>
                  <a:pt x="580" y="826"/>
                </a:cubicBezTo>
                <a:cubicBezTo>
                  <a:pt x="380" y="826"/>
                  <a:pt x="380" y="826"/>
                  <a:pt x="380" y="826"/>
                </a:cubicBezTo>
                <a:lnTo>
                  <a:pt x="380" y="1046"/>
                </a:lnTo>
                <a:close/>
                <a:moveTo>
                  <a:pt x="35" y="586"/>
                </a:moveTo>
                <a:cubicBezTo>
                  <a:pt x="598" y="24"/>
                  <a:pt x="598" y="24"/>
                  <a:pt x="598" y="24"/>
                </a:cubicBezTo>
                <a:cubicBezTo>
                  <a:pt x="621" y="0"/>
                  <a:pt x="659" y="0"/>
                  <a:pt x="682" y="24"/>
                </a:cubicBezTo>
                <a:cubicBezTo>
                  <a:pt x="706" y="47"/>
                  <a:pt x="706" y="85"/>
                  <a:pt x="682" y="108"/>
                </a:cubicBezTo>
                <a:cubicBezTo>
                  <a:pt x="205" y="586"/>
                  <a:pt x="205" y="586"/>
                  <a:pt x="205" y="586"/>
                </a:cubicBezTo>
                <a:lnTo>
                  <a:pt x="35" y="586"/>
                </a:lnTo>
                <a:close/>
                <a:moveTo>
                  <a:pt x="1715" y="586"/>
                </a:moveTo>
                <a:cubicBezTo>
                  <a:pt x="1238" y="108"/>
                  <a:pt x="1238" y="108"/>
                  <a:pt x="1238" y="108"/>
                </a:cubicBezTo>
                <a:cubicBezTo>
                  <a:pt x="1214" y="85"/>
                  <a:pt x="1214" y="47"/>
                  <a:pt x="1238" y="24"/>
                </a:cubicBezTo>
                <a:cubicBezTo>
                  <a:pt x="1261" y="0"/>
                  <a:pt x="1299" y="0"/>
                  <a:pt x="1322" y="24"/>
                </a:cubicBezTo>
                <a:cubicBezTo>
                  <a:pt x="1885" y="586"/>
                  <a:pt x="1885" y="586"/>
                  <a:pt x="1885" y="586"/>
                </a:cubicBezTo>
                <a:lnTo>
                  <a:pt x="1715" y="586"/>
                </a:lnTo>
                <a:close/>
                <a:moveTo>
                  <a:pt x="700" y="1046"/>
                </a:moveTo>
                <a:cubicBezTo>
                  <a:pt x="900" y="1046"/>
                  <a:pt x="900" y="1046"/>
                  <a:pt x="900" y="1046"/>
                </a:cubicBezTo>
                <a:cubicBezTo>
                  <a:pt x="900" y="826"/>
                  <a:pt x="900" y="826"/>
                  <a:pt x="900" y="826"/>
                </a:cubicBezTo>
                <a:cubicBezTo>
                  <a:pt x="700" y="826"/>
                  <a:pt x="700" y="826"/>
                  <a:pt x="700" y="826"/>
                </a:cubicBezTo>
                <a:lnTo>
                  <a:pt x="700" y="1046"/>
                </a:lnTo>
                <a:close/>
                <a:moveTo>
                  <a:pt x="1020" y="1046"/>
                </a:moveTo>
                <a:cubicBezTo>
                  <a:pt x="1220" y="1046"/>
                  <a:pt x="1220" y="1046"/>
                  <a:pt x="1220" y="1046"/>
                </a:cubicBezTo>
                <a:cubicBezTo>
                  <a:pt x="1220" y="826"/>
                  <a:pt x="1220" y="826"/>
                  <a:pt x="1220" y="826"/>
                </a:cubicBezTo>
                <a:cubicBezTo>
                  <a:pt x="1020" y="826"/>
                  <a:pt x="1020" y="826"/>
                  <a:pt x="1020" y="826"/>
                </a:cubicBezTo>
                <a:lnTo>
                  <a:pt x="1020" y="1046"/>
                </a:lnTo>
                <a:close/>
                <a:moveTo>
                  <a:pt x="1340" y="1046"/>
                </a:moveTo>
                <a:cubicBezTo>
                  <a:pt x="1540" y="1046"/>
                  <a:pt x="1540" y="1046"/>
                  <a:pt x="1540" y="1046"/>
                </a:cubicBezTo>
                <a:cubicBezTo>
                  <a:pt x="1540" y="826"/>
                  <a:pt x="1540" y="826"/>
                  <a:pt x="1540" y="826"/>
                </a:cubicBezTo>
                <a:cubicBezTo>
                  <a:pt x="1340" y="826"/>
                  <a:pt x="1340" y="826"/>
                  <a:pt x="1340" y="826"/>
                </a:cubicBezTo>
                <a:lnTo>
                  <a:pt x="1340" y="104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2" name="Freeform 101"/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988510" y="3363459"/>
            <a:ext cx="465195" cy="410839"/>
          </a:xfrm>
          <a:custGeom>
            <a:avLst/>
            <a:gdLst>
              <a:gd name="T0" fmla="*/ 1220 w 2174"/>
              <a:gd name="T1" fmla="*/ 1480 h 1920"/>
              <a:gd name="T2" fmla="*/ 1437 w 2174"/>
              <a:gd name="T3" fmla="*/ 1700 h 1920"/>
              <a:gd name="T4" fmla="*/ 1220 w 2174"/>
              <a:gd name="T5" fmla="*/ 1920 h 1920"/>
              <a:gd name="T6" fmla="*/ 774 w 2174"/>
              <a:gd name="T7" fmla="*/ 1920 h 1920"/>
              <a:gd name="T8" fmla="*/ 557 w 2174"/>
              <a:gd name="T9" fmla="*/ 1700 h 1920"/>
              <a:gd name="T10" fmla="*/ 774 w 2174"/>
              <a:gd name="T11" fmla="*/ 1480 h 1920"/>
              <a:gd name="T12" fmla="*/ 1220 w 2174"/>
              <a:gd name="T13" fmla="*/ 1480 h 1920"/>
              <a:gd name="T14" fmla="*/ 196 w 2174"/>
              <a:gd name="T15" fmla="*/ 1262 h 1920"/>
              <a:gd name="T16" fmla="*/ 636 w 2174"/>
              <a:gd name="T17" fmla="*/ 1185 h 1920"/>
              <a:gd name="T18" fmla="*/ 887 w 2174"/>
              <a:gd name="T19" fmla="*/ 1364 h 1920"/>
              <a:gd name="T20" fmla="*/ 891 w 2174"/>
              <a:gd name="T21" fmla="*/ 1400 h 1920"/>
              <a:gd name="T22" fmla="*/ 774 w 2174"/>
              <a:gd name="T23" fmla="*/ 1400 h 1920"/>
              <a:gd name="T24" fmla="*/ 480 w 2174"/>
              <a:gd name="T25" fmla="*/ 1659 h 1920"/>
              <a:gd name="T26" fmla="*/ 272 w 2174"/>
              <a:gd name="T27" fmla="*/ 1696 h 1920"/>
              <a:gd name="T28" fmla="*/ 21 w 2174"/>
              <a:gd name="T29" fmla="*/ 1516 h 1920"/>
              <a:gd name="T30" fmla="*/ 196 w 2174"/>
              <a:gd name="T31" fmla="*/ 1262 h 1920"/>
              <a:gd name="T32" fmla="*/ 1974 w 2174"/>
              <a:gd name="T33" fmla="*/ 320 h 1920"/>
              <a:gd name="T34" fmla="*/ 2174 w 2174"/>
              <a:gd name="T35" fmla="*/ 520 h 1920"/>
              <a:gd name="T36" fmla="*/ 2174 w 2174"/>
              <a:gd name="T37" fmla="*/ 1521 h 1920"/>
              <a:gd name="T38" fmla="*/ 1974 w 2174"/>
              <a:gd name="T39" fmla="*/ 1720 h 1920"/>
              <a:gd name="T40" fmla="*/ 1516 w 2174"/>
              <a:gd name="T41" fmla="*/ 1720 h 1920"/>
              <a:gd name="T42" fmla="*/ 1220 w 2174"/>
              <a:gd name="T43" fmla="*/ 1400 h 1920"/>
              <a:gd name="T44" fmla="*/ 974 w 2174"/>
              <a:gd name="T45" fmla="*/ 1400 h 1920"/>
              <a:gd name="T46" fmla="*/ 974 w 2174"/>
              <a:gd name="T47" fmla="*/ 520 h 1920"/>
              <a:gd name="T48" fmla="*/ 1174 w 2174"/>
              <a:gd name="T49" fmla="*/ 320 h 1920"/>
              <a:gd name="T50" fmla="*/ 1187 w 2174"/>
              <a:gd name="T51" fmla="*/ 318 h 1920"/>
              <a:gd name="T52" fmla="*/ 1960 w 2174"/>
              <a:gd name="T53" fmla="*/ 318 h 1920"/>
              <a:gd name="T54" fmla="*/ 1974 w 2174"/>
              <a:gd name="T55" fmla="*/ 320 h 1920"/>
              <a:gd name="T56" fmla="*/ 1174 w 2174"/>
              <a:gd name="T57" fmla="*/ 680 h 1920"/>
              <a:gd name="T58" fmla="*/ 1174 w 2174"/>
              <a:gd name="T59" fmla="*/ 1280 h 1920"/>
              <a:gd name="T60" fmla="*/ 1934 w 2174"/>
              <a:gd name="T61" fmla="*/ 1280 h 1920"/>
              <a:gd name="T62" fmla="*/ 1974 w 2174"/>
              <a:gd name="T63" fmla="*/ 1280 h 1920"/>
              <a:gd name="T64" fmla="*/ 1974 w 2174"/>
              <a:gd name="T65" fmla="*/ 1240 h 1920"/>
              <a:gd name="T66" fmla="*/ 1974 w 2174"/>
              <a:gd name="T67" fmla="*/ 680 h 1920"/>
              <a:gd name="T68" fmla="*/ 1174 w 2174"/>
              <a:gd name="T69" fmla="*/ 680 h 1920"/>
              <a:gd name="T70" fmla="*/ 1894 w 2174"/>
              <a:gd name="T71" fmla="*/ 760 h 1920"/>
              <a:gd name="T72" fmla="*/ 1894 w 2174"/>
              <a:gd name="T73" fmla="*/ 1200 h 1920"/>
              <a:gd name="T74" fmla="*/ 1254 w 2174"/>
              <a:gd name="T75" fmla="*/ 1200 h 1920"/>
              <a:gd name="T76" fmla="*/ 1254 w 2174"/>
              <a:gd name="T77" fmla="*/ 760 h 1920"/>
              <a:gd name="T78" fmla="*/ 1894 w 2174"/>
              <a:gd name="T79" fmla="*/ 760 h 1920"/>
              <a:gd name="T80" fmla="*/ 1214 w 2174"/>
              <a:gd name="T81" fmla="*/ 0 h 1920"/>
              <a:gd name="T82" fmla="*/ 1934 w 2174"/>
              <a:gd name="T83" fmla="*/ 0 h 1920"/>
              <a:gd name="T84" fmla="*/ 2054 w 2174"/>
              <a:gd name="T85" fmla="*/ 120 h 1920"/>
              <a:gd name="T86" fmla="*/ 2054 w 2174"/>
              <a:gd name="T87" fmla="*/ 160 h 1920"/>
              <a:gd name="T88" fmla="*/ 1934 w 2174"/>
              <a:gd name="T89" fmla="*/ 280 h 1920"/>
              <a:gd name="T90" fmla="*/ 1214 w 2174"/>
              <a:gd name="T91" fmla="*/ 280 h 1920"/>
              <a:gd name="T92" fmla="*/ 1094 w 2174"/>
              <a:gd name="T93" fmla="*/ 160 h 1920"/>
              <a:gd name="T94" fmla="*/ 1094 w 2174"/>
              <a:gd name="T95" fmla="*/ 120 h 1920"/>
              <a:gd name="T96" fmla="*/ 1214 w 2174"/>
              <a:gd name="T97" fmla="*/ 0 h 1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174" h="1920">
                <a:moveTo>
                  <a:pt x="1220" y="1480"/>
                </a:moveTo>
                <a:cubicBezTo>
                  <a:pt x="1341" y="1480"/>
                  <a:pt x="1437" y="1580"/>
                  <a:pt x="1437" y="1700"/>
                </a:cubicBezTo>
                <a:cubicBezTo>
                  <a:pt x="1437" y="1820"/>
                  <a:pt x="1341" y="1920"/>
                  <a:pt x="1220" y="1920"/>
                </a:cubicBezTo>
                <a:cubicBezTo>
                  <a:pt x="774" y="1920"/>
                  <a:pt x="774" y="1920"/>
                  <a:pt x="774" y="1920"/>
                </a:cubicBezTo>
                <a:cubicBezTo>
                  <a:pt x="653" y="1920"/>
                  <a:pt x="557" y="1820"/>
                  <a:pt x="557" y="1700"/>
                </a:cubicBezTo>
                <a:cubicBezTo>
                  <a:pt x="557" y="1580"/>
                  <a:pt x="653" y="1480"/>
                  <a:pt x="774" y="1480"/>
                </a:cubicBezTo>
                <a:lnTo>
                  <a:pt x="1220" y="1480"/>
                </a:lnTo>
                <a:close/>
                <a:moveTo>
                  <a:pt x="196" y="1262"/>
                </a:moveTo>
                <a:cubicBezTo>
                  <a:pt x="636" y="1185"/>
                  <a:pt x="636" y="1185"/>
                  <a:pt x="636" y="1185"/>
                </a:cubicBezTo>
                <a:cubicBezTo>
                  <a:pt x="755" y="1164"/>
                  <a:pt x="866" y="1246"/>
                  <a:pt x="887" y="1364"/>
                </a:cubicBezTo>
                <a:cubicBezTo>
                  <a:pt x="890" y="1376"/>
                  <a:pt x="890" y="1388"/>
                  <a:pt x="891" y="1400"/>
                </a:cubicBezTo>
                <a:cubicBezTo>
                  <a:pt x="774" y="1400"/>
                  <a:pt x="774" y="1400"/>
                  <a:pt x="774" y="1400"/>
                </a:cubicBezTo>
                <a:cubicBezTo>
                  <a:pt x="625" y="1400"/>
                  <a:pt x="500" y="1512"/>
                  <a:pt x="480" y="1659"/>
                </a:cubicBezTo>
                <a:cubicBezTo>
                  <a:pt x="272" y="1696"/>
                  <a:pt x="272" y="1696"/>
                  <a:pt x="272" y="1696"/>
                </a:cubicBezTo>
                <a:cubicBezTo>
                  <a:pt x="153" y="1716"/>
                  <a:pt x="42" y="1634"/>
                  <a:pt x="21" y="1516"/>
                </a:cubicBezTo>
                <a:cubicBezTo>
                  <a:pt x="0" y="1398"/>
                  <a:pt x="77" y="1283"/>
                  <a:pt x="196" y="1262"/>
                </a:cubicBezTo>
                <a:close/>
                <a:moveTo>
                  <a:pt x="1974" y="320"/>
                </a:moveTo>
                <a:cubicBezTo>
                  <a:pt x="2084" y="320"/>
                  <a:pt x="2174" y="410"/>
                  <a:pt x="2174" y="520"/>
                </a:cubicBezTo>
                <a:cubicBezTo>
                  <a:pt x="2174" y="1521"/>
                  <a:pt x="2174" y="1521"/>
                  <a:pt x="2174" y="1521"/>
                </a:cubicBezTo>
                <a:cubicBezTo>
                  <a:pt x="2174" y="1631"/>
                  <a:pt x="2084" y="1720"/>
                  <a:pt x="1974" y="1720"/>
                </a:cubicBezTo>
                <a:cubicBezTo>
                  <a:pt x="1516" y="1720"/>
                  <a:pt x="1516" y="1720"/>
                  <a:pt x="1516" y="1720"/>
                </a:cubicBezTo>
                <a:cubicBezTo>
                  <a:pt x="1528" y="1549"/>
                  <a:pt x="1393" y="1400"/>
                  <a:pt x="1220" y="1400"/>
                </a:cubicBezTo>
                <a:cubicBezTo>
                  <a:pt x="974" y="1400"/>
                  <a:pt x="974" y="1400"/>
                  <a:pt x="974" y="1400"/>
                </a:cubicBezTo>
                <a:cubicBezTo>
                  <a:pt x="974" y="520"/>
                  <a:pt x="974" y="520"/>
                  <a:pt x="974" y="520"/>
                </a:cubicBezTo>
                <a:cubicBezTo>
                  <a:pt x="974" y="410"/>
                  <a:pt x="1064" y="320"/>
                  <a:pt x="1174" y="320"/>
                </a:cubicBezTo>
                <a:cubicBezTo>
                  <a:pt x="1178" y="320"/>
                  <a:pt x="1183" y="319"/>
                  <a:pt x="1187" y="318"/>
                </a:cubicBezTo>
                <a:cubicBezTo>
                  <a:pt x="1960" y="318"/>
                  <a:pt x="1960" y="318"/>
                  <a:pt x="1960" y="318"/>
                </a:cubicBezTo>
                <a:cubicBezTo>
                  <a:pt x="1964" y="319"/>
                  <a:pt x="1969" y="320"/>
                  <a:pt x="1974" y="320"/>
                </a:cubicBezTo>
                <a:close/>
                <a:moveTo>
                  <a:pt x="1174" y="680"/>
                </a:moveTo>
                <a:cubicBezTo>
                  <a:pt x="1174" y="1280"/>
                  <a:pt x="1174" y="1280"/>
                  <a:pt x="1174" y="1280"/>
                </a:cubicBezTo>
                <a:cubicBezTo>
                  <a:pt x="1934" y="1280"/>
                  <a:pt x="1934" y="1280"/>
                  <a:pt x="1934" y="1280"/>
                </a:cubicBezTo>
                <a:cubicBezTo>
                  <a:pt x="1974" y="1280"/>
                  <a:pt x="1974" y="1280"/>
                  <a:pt x="1974" y="1280"/>
                </a:cubicBezTo>
                <a:cubicBezTo>
                  <a:pt x="1974" y="1240"/>
                  <a:pt x="1974" y="1240"/>
                  <a:pt x="1974" y="1240"/>
                </a:cubicBezTo>
                <a:cubicBezTo>
                  <a:pt x="1974" y="680"/>
                  <a:pt x="1974" y="680"/>
                  <a:pt x="1974" y="680"/>
                </a:cubicBezTo>
                <a:lnTo>
                  <a:pt x="1174" y="680"/>
                </a:lnTo>
                <a:close/>
                <a:moveTo>
                  <a:pt x="1894" y="760"/>
                </a:moveTo>
                <a:cubicBezTo>
                  <a:pt x="1894" y="1200"/>
                  <a:pt x="1894" y="1200"/>
                  <a:pt x="1894" y="1200"/>
                </a:cubicBezTo>
                <a:cubicBezTo>
                  <a:pt x="1254" y="1200"/>
                  <a:pt x="1254" y="1200"/>
                  <a:pt x="1254" y="1200"/>
                </a:cubicBezTo>
                <a:cubicBezTo>
                  <a:pt x="1254" y="760"/>
                  <a:pt x="1254" y="760"/>
                  <a:pt x="1254" y="760"/>
                </a:cubicBezTo>
                <a:lnTo>
                  <a:pt x="1894" y="760"/>
                </a:lnTo>
                <a:close/>
                <a:moveTo>
                  <a:pt x="1214" y="0"/>
                </a:moveTo>
                <a:cubicBezTo>
                  <a:pt x="1934" y="0"/>
                  <a:pt x="1934" y="0"/>
                  <a:pt x="1934" y="0"/>
                </a:cubicBezTo>
                <a:cubicBezTo>
                  <a:pt x="2000" y="0"/>
                  <a:pt x="2054" y="54"/>
                  <a:pt x="2054" y="120"/>
                </a:cubicBezTo>
                <a:cubicBezTo>
                  <a:pt x="2054" y="160"/>
                  <a:pt x="2054" y="160"/>
                  <a:pt x="2054" y="160"/>
                </a:cubicBezTo>
                <a:cubicBezTo>
                  <a:pt x="2054" y="226"/>
                  <a:pt x="2000" y="280"/>
                  <a:pt x="1934" y="280"/>
                </a:cubicBezTo>
                <a:cubicBezTo>
                  <a:pt x="1214" y="280"/>
                  <a:pt x="1214" y="280"/>
                  <a:pt x="1214" y="280"/>
                </a:cubicBezTo>
                <a:cubicBezTo>
                  <a:pt x="1148" y="280"/>
                  <a:pt x="1094" y="226"/>
                  <a:pt x="1094" y="160"/>
                </a:cubicBezTo>
                <a:cubicBezTo>
                  <a:pt x="1094" y="120"/>
                  <a:pt x="1094" y="120"/>
                  <a:pt x="1094" y="120"/>
                </a:cubicBezTo>
                <a:cubicBezTo>
                  <a:pt x="1094" y="54"/>
                  <a:pt x="1148" y="0"/>
                  <a:pt x="1214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" name="Freeform 22"/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auto">
          <a:xfrm>
            <a:off x="966996" y="2724166"/>
            <a:ext cx="559892" cy="413520"/>
          </a:xfrm>
          <a:custGeom>
            <a:avLst/>
            <a:gdLst>
              <a:gd name="T0" fmla="*/ 4413 w 5424"/>
              <a:gd name="T1" fmla="*/ 2610 h 4006"/>
              <a:gd name="T2" fmla="*/ 4413 w 5424"/>
              <a:gd name="T3" fmla="*/ 3628 h 4006"/>
              <a:gd name="T4" fmla="*/ 4980 w 5424"/>
              <a:gd name="T5" fmla="*/ 3628 h 4006"/>
              <a:gd name="T6" fmla="*/ 4980 w 5424"/>
              <a:gd name="T7" fmla="*/ 2421 h 4006"/>
              <a:gd name="T8" fmla="*/ 4602 w 5424"/>
              <a:gd name="T9" fmla="*/ 2799 h 4006"/>
              <a:gd name="T10" fmla="*/ 4413 w 5424"/>
              <a:gd name="T11" fmla="*/ 2610 h 4006"/>
              <a:gd name="T12" fmla="*/ 3090 w 5424"/>
              <a:gd name="T13" fmla="*/ 4006 h 4006"/>
              <a:gd name="T14" fmla="*/ 3657 w 5424"/>
              <a:gd name="T15" fmla="*/ 4006 h 4006"/>
              <a:gd name="T16" fmla="*/ 3657 w 5424"/>
              <a:gd name="T17" fmla="*/ 2494 h 4006"/>
              <a:gd name="T18" fmla="*/ 3090 w 5424"/>
              <a:gd name="T19" fmla="*/ 2494 h 4006"/>
              <a:gd name="T20" fmla="*/ 3090 w 5424"/>
              <a:gd name="T21" fmla="*/ 4006 h 4006"/>
              <a:gd name="T22" fmla="*/ 1578 w 5424"/>
              <a:gd name="T23" fmla="*/ 2305 h 4006"/>
              <a:gd name="T24" fmla="*/ 1578 w 5424"/>
              <a:gd name="T25" fmla="*/ 3250 h 4006"/>
              <a:gd name="T26" fmla="*/ 2712 w 5424"/>
              <a:gd name="T27" fmla="*/ 3250 h 4006"/>
              <a:gd name="T28" fmla="*/ 2712 w 5424"/>
              <a:gd name="T29" fmla="*/ 2305 h 4006"/>
              <a:gd name="T30" fmla="*/ 1578 w 5424"/>
              <a:gd name="T31" fmla="*/ 2305 h 4006"/>
              <a:gd name="T32" fmla="*/ 2523 w 5424"/>
              <a:gd name="T33" fmla="*/ 2494 h 4006"/>
              <a:gd name="T34" fmla="*/ 2523 w 5424"/>
              <a:gd name="T35" fmla="*/ 3061 h 4006"/>
              <a:gd name="T36" fmla="*/ 1767 w 5424"/>
              <a:gd name="T37" fmla="*/ 3061 h 4006"/>
              <a:gd name="T38" fmla="*/ 1767 w 5424"/>
              <a:gd name="T39" fmla="*/ 2494 h 4006"/>
              <a:gd name="T40" fmla="*/ 2523 w 5424"/>
              <a:gd name="T41" fmla="*/ 2494 h 4006"/>
              <a:gd name="T42" fmla="*/ 756 w 5424"/>
              <a:gd name="T43" fmla="*/ 2334 h 4006"/>
              <a:gd name="T44" fmla="*/ 2712 w 5424"/>
              <a:gd name="T45" fmla="*/ 389 h 4006"/>
              <a:gd name="T46" fmla="*/ 4668 w 5424"/>
              <a:gd name="T47" fmla="*/ 2334 h 4006"/>
              <a:gd name="T48" fmla="*/ 4535 w 5424"/>
              <a:gd name="T49" fmla="*/ 2466 h 4006"/>
              <a:gd name="T50" fmla="*/ 4224 w 5424"/>
              <a:gd name="T51" fmla="*/ 2156 h 4006"/>
              <a:gd name="T52" fmla="*/ 4224 w 5424"/>
              <a:gd name="T53" fmla="*/ 4006 h 4006"/>
              <a:gd name="T54" fmla="*/ 3846 w 5424"/>
              <a:gd name="T55" fmla="*/ 4006 h 4006"/>
              <a:gd name="T56" fmla="*/ 3846 w 5424"/>
              <a:gd name="T57" fmla="*/ 2305 h 4006"/>
              <a:gd name="T58" fmla="*/ 2901 w 5424"/>
              <a:gd name="T59" fmla="*/ 2305 h 4006"/>
              <a:gd name="T60" fmla="*/ 2901 w 5424"/>
              <a:gd name="T61" fmla="*/ 4006 h 4006"/>
              <a:gd name="T62" fmla="*/ 1200 w 5424"/>
              <a:gd name="T63" fmla="*/ 4006 h 4006"/>
              <a:gd name="T64" fmla="*/ 1200 w 5424"/>
              <a:gd name="T65" fmla="*/ 2156 h 4006"/>
              <a:gd name="T66" fmla="*/ 889 w 5424"/>
              <a:gd name="T67" fmla="*/ 2466 h 4006"/>
              <a:gd name="T68" fmla="*/ 756 w 5424"/>
              <a:gd name="T69" fmla="*/ 2334 h 4006"/>
              <a:gd name="T70" fmla="*/ 4980 w 5424"/>
              <a:gd name="T71" fmla="*/ 2376 h 4006"/>
              <a:gd name="T72" fmla="*/ 4980 w 5424"/>
              <a:gd name="T73" fmla="*/ 1871 h 4006"/>
              <a:gd name="T74" fmla="*/ 5291 w 5424"/>
              <a:gd name="T75" fmla="*/ 2182 h 4006"/>
              <a:gd name="T76" fmla="*/ 5424 w 5424"/>
              <a:gd name="T77" fmla="*/ 2050 h 4006"/>
              <a:gd name="T78" fmla="*/ 3562 w 5424"/>
              <a:gd name="T79" fmla="*/ 189 h 4006"/>
              <a:gd name="T80" fmla="*/ 3170 w 5424"/>
              <a:gd name="T81" fmla="*/ 578 h 4006"/>
              <a:gd name="T82" fmla="*/ 4980 w 5424"/>
              <a:gd name="T83" fmla="*/ 2376 h 4006"/>
              <a:gd name="T84" fmla="*/ 1011 w 5424"/>
              <a:gd name="T85" fmla="*/ 3250 h 4006"/>
              <a:gd name="T86" fmla="*/ 445 w 5424"/>
              <a:gd name="T87" fmla="*/ 3250 h 4006"/>
              <a:gd name="T88" fmla="*/ 445 w 5424"/>
              <a:gd name="T89" fmla="*/ 2421 h 4006"/>
              <a:gd name="T90" fmla="*/ 822 w 5424"/>
              <a:gd name="T91" fmla="*/ 2799 h 4006"/>
              <a:gd name="T92" fmla="*/ 1011 w 5424"/>
              <a:gd name="T93" fmla="*/ 2610 h 4006"/>
              <a:gd name="T94" fmla="*/ 1011 w 5424"/>
              <a:gd name="T95" fmla="*/ 3250 h 4006"/>
              <a:gd name="T96" fmla="*/ 445 w 5424"/>
              <a:gd name="T97" fmla="*/ 2376 h 4006"/>
              <a:gd name="T98" fmla="*/ 445 w 5424"/>
              <a:gd name="T99" fmla="*/ 1587 h 4006"/>
              <a:gd name="T100" fmla="*/ 133 w 5424"/>
              <a:gd name="T101" fmla="*/ 1899 h 4006"/>
              <a:gd name="T102" fmla="*/ 0 w 5424"/>
              <a:gd name="T103" fmla="*/ 1767 h 4006"/>
              <a:gd name="T104" fmla="*/ 1767 w 5424"/>
              <a:gd name="T105" fmla="*/ 0 h 4006"/>
              <a:gd name="T106" fmla="*/ 2301 w 5424"/>
              <a:gd name="T107" fmla="*/ 531 h 4006"/>
              <a:gd name="T108" fmla="*/ 445 w 5424"/>
              <a:gd name="T109" fmla="*/ 2376 h 40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424" h="4006">
                <a:moveTo>
                  <a:pt x="4413" y="2610"/>
                </a:moveTo>
                <a:lnTo>
                  <a:pt x="4413" y="3628"/>
                </a:lnTo>
                <a:lnTo>
                  <a:pt x="4980" y="3628"/>
                </a:lnTo>
                <a:lnTo>
                  <a:pt x="4980" y="2421"/>
                </a:lnTo>
                <a:lnTo>
                  <a:pt x="4602" y="2799"/>
                </a:lnTo>
                <a:lnTo>
                  <a:pt x="4413" y="2610"/>
                </a:lnTo>
                <a:close/>
                <a:moveTo>
                  <a:pt x="3090" y="4006"/>
                </a:moveTo>
                <a:lnTo>
                  <a:pt x="3657" y="4006"/>
                </a:lnTo>
                <a:lnTo>
                  <a:pt x="3657" y="2494"/>
                </a:lnTo>
                <a:lnTo>
                  <a:pt x="3090" y="2494"/>
                </a:lnTo>
                <a:lnTo>
                  <a:pt x="3090" y="4006"/>
                </a:lnTo>
                <a:close/>
                <a:moveTo>
                  <a:pt x="1578" y="2305"/>
                </a:moveTo>
                <a:lnTo>
                  <a:pt x="1578" y="3250"/>
                </a:lnTo>
                <a:lnTo>
                  <a:pt x="2712" y="3250"/>
                </a:lnTo>
                <a:lnTo>
                  <a:pt x="2712" y="2305"/>
                </a:lnTo>
                <a:lnTo>
                  <a:pt x="1578" y="2305"/>
                </a:lnTo>
                <a:close/>
                <a:moveTo>
                  <a:pt x="2523" y="2494"/>
                </a:moveTo>
                <a:lnTo>
                  <a:pt x="2523" y="3061"/>
                </a:lnTo>
                <a:lnTo>
                  <a:pt x="1767" y="3061"/>
                </a:lnTo>
                <a:lnTo>
                  <a:pt x="1767" y="2494"/>
                </a:lnTo>
                <a:lnTo>
                  <a:pt x="2523" y="2494"/>
                </a:lnTo>
                <a:close/>
                <a:moveTo>
                  <a:pt x="756" y="2334"/>
                </a:moveTo>
                <a:lnTo>
                  <a:pt x="2712" y="389"/>
                </a:lnTo>
                <a:lnTo>
                  <a:pt x="4668" y="2334"/>
                </a:lnTo>
                <a:lnTo>
                  <a:pt x="4535" y="2466"/>
                </a:lnTo>
                <a:lnTo>
                  <a:pt x="4224" y="2156"/>
                </a:lnTo>
                <a:lnTo>
                  <a:pt x="4224" y="4006"/>
                </a:lnTo>
                <a:lnTo>
                  <a:pt x="3846" y="4006"/>
                </a:lnTo>
                <a:lnTo>
                  <a:pt x="3846" y="2305"/>
                </a:lnTo>
                <a:lnTo>
                  <a:pt x="2901" y="2305"/>
                </a:lnTo>
                <a:lnTo>
                  <a:pt x="2901" y="4006"/>
                </a:lnTo>
                <a:lnTo>
                  <a:pt x="1200" y="4006"/>
                </a:lnTo>
                <a:lnTo>
                  <a:pt x="1200" y="2156"/>
                </a:lnTo>
                <a:lnTo>
                  <a:pt x="889" y="2466"/>
                </a:lnTo>
                <a:lnTo>
                  <a:pt x="756" y="2334"/>
                </a:lnTo>
                <a:close/>
                <a:moveTo>
                  <a:pt x="4980" y="2376"/>
                </a:moveTo>
                <a:lnTo>
                  <a:pt x="4980" y="1871"/>
                </a:lnTo>
                <a:lnTo>
                  <a:pt x="5291" y="2182"/>
                </a:lnTo>
                <a:lnTo>
                  <a:pt x="5424" y="2050"/>
                </a:lnTo>
                <a:lnTo>
                  <a:pt x="3562" y="189"/>
                </a:lnTo>
                <a:lnTo>
                  <a:pt x="3170" y="578"/>
                </a:lnTo>
                <a:lnTo>
                  <a:pt x="4980" y="2376"/>
                </a:lnTo>
                <a:close/>
                <a:moveTo>
                  <a:pt x="1011" y="3250"/>
                </a:moveTo>
                <a:lnTo>
                  <a:pt x="445" y="3250"/>
                </a:lnTo>
                <a:lnTo>
                  <a:pt x="445" y="2421"/>
                </a:lnTo>
                <a:lnTo>
                  <a:pt x="822" y="2799"/>
                </a:lnTo>
                <a:lnTo>
                  <a:pt x="1011" y="2610"/>
                </a:lnTo>
                <a:lnTo>
                  <a:pt x="1011" y="3250"/>
                </a:lnTo>
                <a:close/>
                <a:moveTo>
                  <a:pt x="445" y="2376"/>
                </a:moveTo>
                <a:lnTo>
                  <a:pt x="445" y="1587"/>
                </a:lnTo>
                <a:lnTo>
                  <a:pt x="133" y="1899"/>
                </a:lnTo>
                <a:lnTo>
                  <a:pt x="0" y="1767"/>
                </a:lnTo>
                <a:lnTo>
                  <a:pt x="1767" y="0"/>
                </a:lnTo>
                <a:lnTo>
                  <a:pt x="2301" y="531"/>
                </a:lnTo>
                <a:lnTo>
                  <a:pt x="445" y="237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4" name="Freeform 31"/>
          <p:cNvSpPr>
            <a:spLocks noChangeAspect="1" noEditPoints="1"/>
          </p:cNvSpPr>
          <p:nvPr>
            <p:custDataLst>
              <p:tags r:id="rId9"/>
            </p:custDataLst>
          </p:nvPr>
        </p:nvSpPr>
        <p:spPr bwMode="auto">
          <a:xfrm>
            <a:off x="1090852" y="1473241"/>
            <a:ext cx="260512" cy="398997"/>
          </a:xfrm>
          <a:custGeom>
            <a:avLst/>
            <a:gdLst>
              <a:gd name="T0" fmla="*/ 400 w 1280"/>
              <a:gd name="T1" fmla="*/ 0 h 1960"/>
              <a:gd name="T2" fmla="*/ 880 w 1280"/>
              <a:gd name="T3" fmla="*/ 0 h 1960"/>
              <a:gd name="T4" fmla="*/ 1280 w 1280"/>
              <a:gd name="T5" fmla="*/ 400 h 1960"/>
              <a:gd name="T6" fmla="*/ 1280 w 1280"/>
              <a:gd name="T7" fmla="*/ 1320 h 1960"/>
              <a:gd name="T8" fmla="*/ 640 w 1280"/>
              <a:gd name="T9" fmla="*/ 1960 h 1960"/>
              <a:gd name="T10" fmla="*/ 0 w 1280"/>
              <a:gd name="T11" fmla="*/ 1320 h 1960"/>
              <a:gd name="T12" fmla="*/ 0 w 1280"/>
              <a:gd name="T13" fmla="*/ 400 h 1960"/>
              <a:gd name="T14" fmla="*/ 400 w 1280"/>
              <a:gd name="T15" fmla="*/ 0 h 1960"/>
              <a:gd name="T16" fmla="*/ 640 w 1280"/>
              <a:gd name="T17" fmla="*/ 160 h 1960"/>
              <a:gd name="T18" fmla="*/ 560 w 1280"/>
              <a:gd name="T19" fmla="*/ 240 h 1960"/>
              <a:gd name="T20" fmla="*/ 560 w 1280"/>
              <a:gd name="T21" fmla="*/ 480 h 1960"/>
              <a:gd name="T22" fmla="*/ 640 w 1280"/>
              <a:gd name="T23" fmla="*/ 560 h 1960"/>
              <a:gd name="T24" fmla="*/ 720 w 1280"/>
              <a:gd name="T25" fmla="*/ 480 h 1960"/>
              <a:gd name="T26" fmla="*/ 720 w 1280"/>
              <a:gd name="T27" fmla="*/ 240 h 1960"/>
              <a:gd name="T28" fmla="*/ 640 w 1280"/>
              <a:gd name="T29" fmla="*/ 160 h 1960"/>
              <a:gd name="T30" fmla="*/ 80 w 1280"/>
              <a:gd name="T31" fmla="*/ 640 h 1960"/>
              <a:gd name="T32" fmla="*/ 80 w 1280"/>
              <a:gd name="T33" fmla="*/ 720 h 1960"/>
              <a:gd name="T34" fmla="*/ 1200 w 1280"/>
              <a:gd name="T35" fmla="*/ 720 h 1960"/>
              <a:gd name="T36" fmla="*/ 1200 w 1280"/>
              <a:gd name="T37" fmla="*/ 640 h 1960"/>
              <a:gd name="T38" fmla="*/ 80 w 1280"/>
              <a:gd name="T39" fmla="*/ 640 h 1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80" h="1960">
                <a:moveTo>
                  <a:pt x="400" y="0"/>
                </a:moveTo>
                <a:cubicBezTo>
                  <a:pt x="880" y="0"/>
                  <a:pt x="880" y="0"/>
                  <a:pt x="880" y="0"/>
                </a:cubicBezTo>
                <a:cubicBezTo>
                  <a:pt x="1101" y="0"/>
                  <a:pt x="1280" y="179"/>
                  <a:pt x="1280" y="400"/>
                </a:cubicBezTo>
                <a:cubicBezTo>
                  <a:pt x="1280" y="1320"/>
                  <a:pt x="1280" y="1320"/>
                  <a:pt x="1280" y="1320"/>
                </a:cubicBezTo>
                <a:cubicBezTo>
                  <a:pt x="1280" y="1674"/>
                  <a:pt x="994" y="1960"/>
                  <a:pt x="640" y="1960"/>
                </a:cubicBezTo>
                <a:cubicBezTo>
                  <a:pt x="286" y="1960"/>
                  <a:pt x="0" y="1674"/>
                  <a:pt x="0" y="1320"/>
                </a:cubicBezTo>
                <a:cubicBezTo>
                  <a:pt x="0" y="400"/>
                  <a:pt x="0" y="400"/>
                  <a:pt x="0" y="400"/>
                </a:cubicBezTo>
                <a:cubicBezTo>
                  <a:pt x="0" y="179"/>
                  <a:pt x="179" y="0"/>
                  <a:pt x="400" y="0"/>
                </a:cubicBezTo>
                <a:close/>
                <a:moveTo>
                  <a:pt x="640" y="160"/>
                </a:moveTo>
                <a:cubicBezTo>
                  <a:pt x="596" y="160"/>
                  <a:pt x="560" y="196"/>
                  <a:pt x="560" y="240"/>
                </a:cubicBezTo>
                <a:cubicBezTo>
                  <a:pt x="560" y="480"/>
                  <a:pt x="560" y="480"/>
                  <a:pt x="560" y="480"/>
                </a:cubicBezTo>
                <a:cubicBezTo>
                  <a:pt x="560" y="524"/>
                  <a:pt x="596" y="560"/>
                  <a:pt x="640" y="560"/>
                </a:cubicBezTo>
                <a:cubicBezTo>
                  <a:pt x="684" y="560"/>
                  <a:pt x="720" y="524"/>
                  <a:pt x="720" y="480"/>
                </a:cubicBezTo>
                <a:cubicBezTo>
                  <a:pt x="720" y="240"/>
                  <a:pt x="720" y="240"/>
                  <a:pt x="720" y="240"/>
                </a:cubicBezTo>
                <a:cubicBezTo>
                  <a:pt x="720" y="196"/>
                  <a:pt x="684" y="160"/>
                  <a:pt x="640" y="160"/>
                </a:cubicBezTo>
                <a:close/>
                <a:moveTo>
                  <a:pt x="80" y="640"/>
                </a:moveTo>
                <a:cubicBezTo>
                  <a:pt x="80" y="720"/>
                  <a:pt x="80" y="720"/>
                  <a:pt x="80" y="720"/>
                </a:cubicBezTo>
                <a:cubicBezTo>
                  <a:pt x="1200" y="720"/>
                  <a:pt x="1200" y="720"/>
                  <a:pt x="1200" y="720"/>
                </a:cubicBezTo>
                <a:cubicBezTo>
                  <a:pt x="1200" y="640"/>
                  <a:pt x="1200" y="640"/>
                  <a:pt x="1200" y="640"/>
                </a:cubicBezTo>
                <a:cubicBezTo>
                  <a:pt x="827" y="640"/>
                  <a:pt x="453" y="640"/>
                  <a:pt x="80" y="64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5" name="Freeform 187"/>
          <p:cNvSpPr>
            <a:spLocks noChangeAspect="1" noEditPoints="1"/>
          </p:cNvSpPr>
          <p:nvPr>
            <p:custDataLst>
              <p:tags r:id="rId10"/>
            </p:custDataLst>
          </p:nvPr>
        </p:nvSpPr>
        <p:spPr bwMode="auto">
          <a:xfrm>
            <a:off x="966996" y="2102020"/>
            <a:ext cx="508224" cy="434182"/>
          </a:xfrm>
          <a:custGeom>
            <a:avLst/>
            <a:gdLst>
              <a:gd name="T0" fmla="*/ 210 w 2092"/>
              <a:gd name="T1" fmla="*/ 424 h 1787"/>
              <a:gd name="T2" fmla="*/ 228 w 2092"/>
              <a:gd name="T3" fmla="*/ 406 h 1787"/>
              <a:gd name="T4" fmla="*/ 1025 w 2092"/>
              <a:gd name="T5" fmla="*/ 8 h 1787"/>
              <a:gd name="T6" fmla="*/ 1067 w 2092"/>
              <a:gd name="T7" fmla="*/ 8 h 1787"/>
              <a:gd name="T8" fmla="*/ 1864 w 2092"/>
              <a:gd name="T9" fmla="*/ 406 h 1787"/>
              <a:gd name="T10" fmla="*/ 1883 w 2092"/>
              <a:gd name="T11" fmla="*/ 427 h 1787"/>
              <a:gd name="T12" fmla="*/ 2082 w 2092"/>
              <a:gd name="T13" fmla="*/ 824 h 1787"/>
              <a:gd name="T14" fmla="*/ 2064 w 2092"/>
              <a:gd name="T15" fmla="*/ 878 h 1787"/>
              <a:gd name="T16" fmla="*/ 1264 w 2092"/>
              <a:gd name="T17" fmla="*/ 1278 h 1787"/>
              <a:gd name="T18" fmla="*/ 1211 w 2092"/>
              <a:gd name="T19" fmla="*/ 1261 h 1787"/>
              <a:gd name="T20" fmla="*/ 1011 w 2092"/>
              <a:gd name="T21" fmla="*/ 901 h 1787"/>
              <a:gd name="T22" fmla="*/ 1006 w 2092"/>
              <a:gd name="T23" fmla="*/ 884 h 1787"/>
              <a:gd name="T24" fmla="*/ 1006 w 2092"/>
              <a:gd name="T25" fmla="*/ 1787 h 1787"/>
              <a:gd name="T26" fmla="*/ 228 w 2092"/>
              <a:gd name="T27" fmla="*/ 1398 h 1787"/>
              <a:gd name="T28" fmla="*/ 206 w 2092"/>
              <a:gd name="T29" fmla="*/ 1362 h 1787"/>
              <a:gd name="T30" fmla="*/ 206 w 2092"/>
              <a:gd name="T31" fmla="*/ 611 h 1787"/>
              <a:gd name="T32" fmla="*/ 126 w 2092"/>
              <a:gd name="T33" fmla="*/ 769 h 1787"/>
              <a:gd name="T34" fmla="*/ 126 w 2092"/>
              <a:gd name="T35" fmla="*/ 846 h 1787"/>
              <a:gd name="T36" fmla="*/ 64 w 2092"/>
              <a:gd name="T37" fmla="*/ 878 h 1787"/>
              <a:gd name="T38" fmla="*/ 28 w 2092"/>
              <a:gd name="T39" fmla="*/ 878 h 1787"/>
              <a:gd name="T40" fmla="*/ 10 w 2092"/>
              <a:gd name="T41" fmla="*/ 824 h 1787"/>
              <a:gd name="T42" fmla="*/ 210 w 2092"/>
              <a:gd name="T43" fmla="*/ 424 h 1787"/>
              <a:gd name="T44" fmla="*/ 295 w 2092"/>
              <a:gd name="T45" fmla="*/ 462 h 1787"/>
              <a:gd name="T46" fmla="*/ 1046 w 2092"/>
              <a:gd name="T47" fmla="*/ 838 h 1787"/>
              <a:gd name="T48" fmla="*/ 1797 w 2092"/>
              <a:gd name="T49" fmla="*/ 462 h 1787"/>
              <a:gd name="T50" fmla="*/ 1086 w 2092"/>
              <a:gd name="T51" fmla="*/ 106 h 1787"/>
              <a:gd name="T52" fmla="*/ 1086 w 2092"/>
              <a:gd name="T53" fmla="*/ 639 h 1787"/>
              <a:gd name="T54" fmla="*/ 1046 w 2092"/>
              <a:gd name="T55" fmla="*/ 659 h 1787"/>
              <a:gd name="T56" fmla="*/ 1006 w 2092"/>
              <a:gd name="T57" fmla="*/ 639 h 1787"/>
              <a:gd name="T58" fmla="*/ 1006 w 2092"/>
              <a:gd name="T59" fmla="*/ 106 h 1787"/>
              <a:gd name="T60" fmla="*/ 295 w 2092"/>
              <a:gd name="T61" fmla="*/ 462 h 1787"/>
              <a:gd name="T62" fmla="*/ 1886 w 2092"/>
              <a:gd name="T63" fmla="*/ 1056 h 1787"/>
              <a:gd name="T64" fmla="*/ 1886 w 2092"/>
              <a:gd name="T65" fmla="*/ 1362 h 1787"/>
              <a:gd name="T66" fmla="*/ 1860 w 2092"/>
              <a:gd name="T67" fmla="*/ 1399 h 1787"/>
              <a:gd name="T68" fmla="*/ 1086 w 2092"/>
              <a:gd name="T69" fmla="*/ 1786 h 1787"/>
              <a:gd name="T70" fmla="*/ 1086 w 2092"/>
              <a:gd name="T71" fmla="*/ 1200 h 1787"/>
              <a:gd name="T72" fmla="*/ 1141 w 2092"/>
              <a:gd name="T73" fmla="*/ 1300 h 1787"/>
              <a:gd name="T74" fmla="*/ 1300 w 2092"/>
              <a:gd name="T75" fmla="*/ 1349 h 1787"/>
              <a:gd name="T76" fmla="*/ 1886 w 2092"/>
              <a:gd name="T77" fmla="*/ 1056 h 17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92" h="1787">
                <a:moveTo>
                  <a:pt x="210" y="424"/>
                </a:moveTo>
                <a:cubicBezTo>
                  <a:pt x="214" y="416"/>
                  <a:pt x="220" y="410"/>
                  <a:pt x="228" y="406"/>
                </a:cubicBezTo>
                <a:cubicBezTo>
                  <a:pt x="1025" y="8"/>
                  <a:pt x="1025" y="8"/>
                  <a:pt x="1025" y="8"/>
                </a:cubicBezTo>
                <a:cubicBezTo>
                  <a:pt x="1038" y="0"/>
                  <a:pt x="1054" y="0"/>
                  <a:pt x="1067" y="8"/>
                </a:cubicBezTo>
                <a:cubicBezTo>
                  <a:pt x="1864" y="406"/>
                  <a:pt x="1864" y="406"/>
                  <a:pt x="1864" y="406"/>
                </a:cubicBezTo>
                <a:cubicBezTo>
                  <a:pt x="1872" y="411"/>
                  <a:pt x="1879" y="418"/>
                  <a:pt x="1883" y="427"/>
                </a:cubicBezTo>
                <a:cubicBezTo>
                  <a:pt x="2082" y="824"/>
                  <a:pt x="2082" y="824"/>
                  <a:pt x="2082" y="824"/>
                </a:cubicBezTo>
                <a:cubicBezTo>
                  <a:pt x="2092" y="844"/>
                  <a:pt x="2084" y="868"/>
                  <a:pt x="2064" y="878"/>
                </a:cubicBezTo>
                <a:cubicBezTo>
                  <a:pt x="1264" y="1278"/>
                  <a:pt x="1264" y="1278"/>
                  <a:pt x="1264" y="1278"/>
                </a:cubicBezTo>
                <a:cubicBezTo>
                  <a:pt x="1245" y="1287"/>
                  <a:pt x="1218" y="1273"/>
                  <a:pt x="1211" y="1261"/>
                </a:cubicBezTo>
                <a:cubicBezTo>
                  <a:pt x="1011" y="901"/>
                  <a:pt x="1011" y="901"/>
                  <a:pt x="1011" y="901"/>
                </a:cubicBezTo>
                <a:cubicBezTo>
                  <a:pt x="1008" y="896"/>
                  <a:pt x="1006" y="890"/>
                  <a:pt x="1006" y="884"/>
                </a:cubicBezTo>
                <a:cubicBezTo>
                  <a:pt x="1006" y="1787"/>
                  <a:pt x="1006" y="1787"/>
                  <a:pt x="1006" y="1787"/>
                </a:cubicBezTo>
                <a:cubicBezTo>
                  <a:pt x="228" y="1398"/>
                  <a:pt x="228" y="1398"/>
                  <a:pt x="228" y="1398"/>
                </a:cubicBezTo>
                <a:cubicBezTo>
                  <a:pt x="214" y="1391"/>
                  <a:pt x="206" y="1376"/>
                  <a:pt x="206" y="1362"/>
                </a:cubicBezTo>
                <a:cubicBezTo>
                  <a:pt x="206" y="611"/>
                  <a:pt x="206" y="611"/>
                  <a:pt x="206" y="611"/>
                </a:cubicBezTo>
                <a:cubicBezTo>
                  <a:pt x="126" y="769"/>
                  <a:pt x="126" y="769"/>
                  <a:pt x="126" y="769"/>
                </a:cubicBezTo>
                <a:cubicBezTo>
                  <a:pt x="126" y="846"/>
                  <a:pt x="126" y="846"/>
                  <a:pt x="126" y="846"/>
                </a:cubicBezTo>
                <a:cubicBezTo>
                  <a:pt x="64" y="878"/>
                  <a:pt x="64" y="878"/>
                  <a:pt x="64" y="878"/>
                </a:cubicBezTo>
                <a:cubicBezTo>
                  <a:pt x="53" y="883"/>
                  <a:pt x="40" y="884"/>
                  <a:pt x="28" y="878"/>
                </a:cubicBezTo>
                <a:cubicBezTo>
                  <a:pt x="8" y="868"/>
                  <a:pt x="0" y="844"/>
                  <a:pt x="10" y="824"/>
                </a:cubicBezTo>
                <a:lnTo>
                  <a:pt x="210" y="424"/>
                </a:lnTo>
                <a:close/>
                <a:moveTo>
                  <a:pt x="295" y="462"/>
                </a:moveTo>
                <a:cubicBezTo>
                  <a:pt x="1046" y="838"/>
                  <a:pt x="1046" y="838"/>
                  <a:pt x="1046" y="838"/>
                </a:cubicBezTo>
                <a:cubicBezTo>
                  <a:pt x="1319" y="702"/>
                  <a:pt x="1534" y="594"/>
                  <a:pt x="1797" y="462"/>
                </a:cubicBezTo>
                <a:cubicBezTo>
                  <a:pt x="1086" y="106"/>
                  <a:pt x="1086" y="106"/>
                  <a:pt x="1086" y="106"/>
                </a:cubicBezTo>
                <a:cubicBezTo>
                  <a:pt x="1086" y="639"/>
                  <a:pt x="1086" y="639"/>
                  <a:pt x="1086" y="639"/>
                </a:cubicBezTo>
                <a:cubicBezTo>
                  <a:pt x="1046" y="659"/>
                  <a:pt x="1046" y="659"/>
                  <a:pt x="1046" y="659"/>
                </a:cubicBezTo>
                <a:cubicBezTo>
                  <a:pt x="1006" y="639"/>
                  <a:pt x="1006" y="639"/>
                  <a:pt x="1006" y="639"/>
                </a:cubicBezTo>
                <a:cubicBezTo>
                  <a:pt x="1006" y="106"/>
                  <a:pt x="1006" y="106"/>
                  <a:pt x="1006" y="106"/>
                </a:cubicBezTo>
                <a:lnTo>
                  <a:pt x="295" y="462"/>
                </a:lnTo>
                <a:close/>
                <a:moveTo>
                  <a:pt x="1886" y="1056"/>
                </a:moveTo>
                <a:cubicBezTo>
                  <a:pt x="1886" y="1362"/>
                  <a:pt x="1886" y="1362"/>
                  <a:pt x="1886" y="1362"/>
                </a:cubicBezTo>
                <a:cubicBezTo>
                  <a:pt x="1886" y="1379"/>
                  <a:pt x="1875" y="1394"/>
                  <a:pt x="1860" y="1399"/>
                </a:cubicBezTo>
                <a:cubicBezTo>
                  <a:pt x="1086" y="1786"/>
                  <a:pt x="1086" y="1786"/>
                  <a:pt x="1086" y="1786"/>
                </a:cubicBezTo>
                <a:cubicBezTo>
                  <a:pt x="1086" y="1200"/>
                  <a:pt x="1086" y="1200"/>
                  <a:pt x="1086" y="1200"/>
                </a:cubicBezTo>
                <a:cubicBezTo>
                  <a:pt x="1141" y="1300"/>
                  <a:pt x="1141" y="1300"/>
                  <a:pt x="1141" y="1300"/>
                </a:cubicBezTo>
                <a:cubicBezTo>
                  <a:pt x="1170" y="1353"/>
                  <a:pt x="1246" y="1376"/>
                  <a:pt x="1300" y="1349"/>
                </a:cubicBezTo>
                <a:lnTo>
                  <a:pt x="1886" y="105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" name="Freeform 92"/>
          <p:cNvSpPr>
            <a:spLocks noChangeAspect="1" noEditPoints="1"/>
          </p:cNvSpPr>
          <p:nvPr>
            <p:custDataLst>
              <p:tags r:id="rId11"/>
            </p:custDataLst>
          </p:nvPr>
        </p:nvSpPr>
        <p:spPr bwMode="auto">
          <a:xfrm>
            <a:off x="5177677" y="2631841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" name="Freeform 92"/>
          <p:cNvSpPr>
            <a:spLocks noChangeAspect="1" noEditPoints="1"/>
          </p:cNvSpPr>
          <p:nvPr>
            <p:custDataLst>
              <p:tags r:id="rId12"/>
            </p:custDataLst>
          </p:nvPr>
        </p:nvSpPr>
        <p:spPr bwMode="auto">
          <a:xfrm>
            <a:off x="5313177" y="2631841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" name="Freeform 92"/>
          <p:cNvSpPr>
            <a:spLocks noChangeAspect="1" noEditPoints="1"/>
          </p:cNvSpPr>
          <p:nvPr>
            <p:custDataLst>
              <p:tags r:id="rId13"/>
            </p:custDataLst>
          </p:nvPr>
        </p:nvSpPr>
        <p:spPr bwMode="auto">
          <a:xfrm>
            <a:off x="5448677" y="2632749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" name="Freeform 92"/>
          <p:cNvSpPr>
            <a:spLocks noChangeAspect="1" noEditPoints="1"/>
          </p:cNvSpPr>
          <p:nvPr>
            <p:custDataLst>
              <p:tags r:id="rId14"/>
            </p:custDataLst>
          </p:nvPr>
        </p:nvSpPr>
        <p:spPr bwMode="auto">
          <a:xfrm>
            <a:off x="5584177" y="2632749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" name="Freeform 92"/>
          <p:cNvSpPr>
            <a:spLocks noChangeAspect="1" noEditPoints="1"/>
          </p:cNvSpPr>
          <p:nvPr>
            <p:custDataLst>
              <p:tags r:id="rId15"/>
            </p:custDataLst>
          </p:nvPr>
        </p:nvSpPr>
        <p:spPr bwMode="auto">
          <a:xfrm>
            <a:off x="5719677" y="2631841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Freeform 92"/>
          <p:cNvSpPr>
            <a:spLocks noChangeAspect="1" noEditPoints="1"/>
          </p:cNvSpPr>
          <p:nvPr>
            <p:custDataLst>
              <p:tags r:id="rId16"/>
            </p:custDataLst>
          </p:nvPr>
        </p:nvSpPr>
        <p:spPr bwMode="auto">
          <a:xfrm>
            <a:off x="5855177" y="2631841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" name="Freeform 92"/>
          <p:cNvSpPr>
            <a:spLocks noChangeAspect="1" noEditPoints="1"/>
          </p:cNvSpPr>
          <p:nvPr>
            <p:custDataLst>
              <p:tags r:id="rId17"/>
            </p:custDataLst>
          </p:nvPr>
        </p:nvSpPr>
        <p:spPr bwMode="auto">
          <a:xfrm>
            <a:off x="5990677" y="2632749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92"/>
          <p:cNvSpPr>
            <a:spLocks noChangeAspect="1" noEditPoints="1"/>
          </p:cNvSpPr>
          <p:nvPr>
            <p:custDataLst>
              <p:tags r:id="rId18"/>
            </p:custDataLst>
          </p:nvPr>
        </p:nvSpPr>
        <p:spPr bwMode="auto">
          <a:xfrm>
            <a:off x="6126177" y="2632749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0" name="Freeform 92"/>
          <p:cNvSpPr>
            <a:spLocks noChangeAspect="1" noEditPoints="1"/>
          </p:cNvSpPr>
          <p:nvPr>
            <p:custDataLst>
              <p:tags r:id="rId19"/>
            </p:custDataLst>
          </p:nvPr>
        </p:nvSpPr>
        <p:spPr bwMode="auto">
          <a:xfrm>
            <a:off x="6261677" y="2631841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1" name="Freeform 92"/>
          <p:cNvSpPr>
            <a:spLocks noChangeAspect="1" noEditPoints="1"/>
          </p:cNvSpPr>
          <p:nvPr>
            <p:custDataLst>
              <p:tags r:id="rId20"/>
            </p:custDataLst>
          </p:nvPr>
        </p:nvSpPr>
        <p:spPr bwMode="auto">
          <a:xfrm>
            <a:off x="6397177" y="2631841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2" name="Freeform 92"/>
          <p:cNvSpPr>
            <a:spLocks noChangeAspect="1" noEditPoints="1"/>
          </p:cNvSpPr>
          <p:nvPr>
            <p:custDataLst>
              <p:tags r:id="rId21"/>
            </p:custDataLst>
          </p:nvPr>
        </p:nvSpPr>
        <p:spPr bwMode="auto">
          <a:xfrm>
            <a:off x="6532677" y="2632749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3" name="Freeform 92"/>
          <p:cNvSpPr>
            <a:spLocks noChangeAspect="1" noEditPoints="1"/>
          </p:cNvSpPr>
          <p:nvPr>
            <p:custDataLst>
              <p:tags r:id="rId22"/>
            </p:custDataLst>
          </p:nvPr>
        </p:nvSpPr>
        <p:spPr bwMode="auto">
          <a:xfrm>
            <a:off x="6668177" y="2632749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" name="Freeform 92"/>
          <p:cNvSpPr>
            <a:spLocks noChangeAspect="1" noEditPoints="1"/>
          </p:cNvSpPr>
          <p:nvPr>
            <p:custDataLst>
              <p:tags r:id="rId23"/>
            </p:custDataLst>
          </p:nvPr>
        </p:nvSpPr>
        <p:spPr bwMode="auto">
          <a:xfrm>
            <a:off x="6803677" y="2631841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" name="Freeform 92"/>
          <p:cNvSpPr>
            <a:spLocks noChangeAspect="1" noEditPoints="1"/>
          </p:cNvSpPr>
          <p:nvPr>
            <p:custDataLst>
              <p:tags r:id="rId24"/>
            </p:custDataLst>
          </p:nvPr>
        </p:nvSpPr>
        <p:spPr bwMode="auto">
          <a:xfrm>
            <a:off x="6939177" y="2631841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" name="Freeform 92"/>
          <p:cNvSpPr>
            <a:spLocks noChangeAspect="1" noEditPoints="1"/>
          </p:cNvSpPr>
          <p:nvPr>
            <p:custDataLst>
              <p:tags r:id="rId25"/>
            </p:custDataLst>
          </p:nvPr>
        </p:nvSpPr>
        <p:spPr bwMode="auto">
          <a:xfrm>
            <a:off x="7074677" y="2632749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7" name="Freeform 92"/>
          <p:cNvSpPr>
            <a:spLocks noChangeAspect="1" noEditPoints="1"/>
          </p:cNvSpPr>
          <p:nvPr>
            <p:custDataLst>
              <p:tags r:id="rId26"/>
            </p:custDataLst>
          </p:nvPr>
        </p:nvSpPr>
        <p:spPr bwMode="auto">
          <a:xfrm>
            <a:off x="7210177" y="2632749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8" name="Freeform 92"/>
          <p:cNvSpPr>
            <a:spLocks noChangeAspect="1" noEditPoints="1"/>
          </p:cNvSpPr>
          <p:nvPr>
            <p:custDataLst>
              <p:tags r:id="rId27"/>
            </p:custDataLst>
          </p:nvPr>
        </p:nvSpPr>
        <p:spPr bwMode="auto">
          <a:xfrm>
            <a:off x="7345677" y="2632749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9" name="Freeform 92"/>
          <p:cNvSpPr>
            <a:spLocks noChangeAspect="1" noEditPoints="1"/>
          </p:cNvSpPr>
          <p:nvPr>
            <p:custDataLst>
              <p:tags r:id="rId28"/>
            </p:custDataLst>
          </p:nvPr>
        </p:nvSpPr>
        <p:spPr bwMode="auto">
          <a:xfrm>
            <a:off x="7481177" y="2632749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0" name="Freeform 92"/>
          <p:cNvSpPr>
            <a:spLocks noChangeAspect="1" noEditPoints="1"/>
          </p:cNvSpPr>
          <p:nvPr>
            <p:custDataLst>
              <p:tags r:id="rId29"/>
            </p:custDataLst>
          </p:nvPr>
        </p:nvSpPr>
        <p:spPr bwMode="auto">
          <a:xfrm>
            <a:off x="7616677" y="2633657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1" name="Freeform 92"/>
          <p:cNvSpPr>
            <a:spLocks noChangeAspect="1" noEditPoints="1"/>
          </p:cNvSpPr>
          <p:nvPr>
            <p:custDataLst>
              <p:tags r:id="rId30"/>
            </p:custDataLst>
          </p:nvPr>
        </p:nvSpPr>
        <p:spPr bwMode="auto">
          <a:xfrm>
            <a:off x="7752177" y="2633657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4" name="Freeform 92"/>
          <p:cNvSpPr>
            <a:spLocks noChangeAspect="1" noEditPoints="1"/>
          </p:cNvSpPr>
          <p:nvPr>
            <p:custDataLst>
              <p:tags r:id="rId31"/>
            </p:custDataLst>
          </p:nvPr>
        </p:nvSpPr>
        <p:spPr bwMode="auto">
          <a:xfrm>
            <a:off x="5177677" y="2941487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5" name="Freeform 92"/>
          <p:cNvSpPr>
            <a:spLocks noChangeAspect="1" noEditPoints="1"/>
          </p:cNvSpPr>
          <p:nvPr>
            <p:custDataLst>
              <p:tags r:id="rId32"/>
            </p:custDataLst>
          </p:nvPr>
        </p:nvSpPr>
        <p:spPr bwMode="auto">
          <a:xfrm>
            <a:off x="5313177" y="2941487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6" name="Freeform 92"/>
          <p:cNvSpPr>
            <a:spLocks noChangeAspect="1" noEditPoints="1"/>
          </p:cNvSpPr>
          <p:nvPr>
            <p:custDataLst>
              <p:tags r:id="rId33"/>
            </p:custDataLst>
          </p:nvPr>
        </p:nvSpPr>
        <p:spPr bwMode="auto">
          <a:xfrm>
            <a:off x="5448677" y="2942395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7" name="Freeform 92"/>
          <p:cNvSpPr>
            <a:spLocks noChangeAspect="1" noEditPoints="1"/>
          </p:cNvSpPr>
          <p:nvPr>
            <p:custDataLst>
              <p:tags r:id="rId34"/>
            </p:custDataLst>
          </p:nvPr>
        </p:nvSpPr>
        <p:spPr bwMode="auto">
          <a:xfrm>
            <a:off x="5584177" y="2942395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8" name="Freeform 92"/>
          <p:cNvSpPr>
            <a:spLocks noChangeAspect="1" noEditPoints="1"/>
          </p:cNvSpPr>
          <p:nvPr>
            <p:custDataLst>
              <p:tags r:id="rId35"/>
            </p:custDataLst>
          </p:nvPr>
        </p:nvSpPr>
        <p:spPr bwMode="auto">
          <a:xfrm>
            <a:off x="5719677" y="2941487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9" name="Freeform 92"/>
          <p:cNvSpPr>
            <a:spLocks noChangeAspect="1" noEditPoints="1"/>
          </p:cNvSpPr>
          <p:nvPr>
            <p:custDataLst>
              <p:tags r:id="rId36"/>
            </p:custDataLst>
          </p:nvPr>
        </p:nvSpPr>
        <p:spPr bwMode="auto">
          <a:xfrm>
            <a:off x="5855177" y="2941487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0" name="Freeform 92"/>
          <p:cNvSpPr>
            <a:spLocks noChangeAspect="1" noEditPoints="1"/>
          </p:cNvSpPr>
          <p:nvPr>
            <p:custDataLst>
              <p:tags r:id="rId37"/>
            </p:custDataLst>
          </p:nvPr>
        </p:nvSpPr>
        <p:spPr bwMode="auto">
          <a:xfrm>
            <a:off x="5990677" y="2942395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1" name="Freeform 92"/>
          <p:cNvSpPr>
            <a:spLocks noChangeAspect="1" noEditPoints="1"/>
          </p:cNvSpPr>
          <p:nvPr>
            <p:custDataLst>
              <p:tags r:id="rId38"/>
            </p:custDataLst>
          </p:nvPr>
        </p:nvSpPr>
        <p:spPr bwMode="auto">
          <a:xfrm>
            <a:off x="6126177" y="2942395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2" name="Freeform 92"/>
          <p:cNvSpPr>
            <a:spLocks noChangeAspect="1" noEditPoints="1"/>
          </p:cNvSpPr>
          <p:nvPr>
            <p:custDataLst>
              <p:tags r:id="rId39"/>
            </p:custDataLst>
          </p:nvPr>
        </p:nvSpPr>
        <p:spPr bwMode="auto">
          <a:xfrm>
            <a:off x="6261677" y="2941487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3" name="Freeform 92"/>
          <p:cNvSpPr>
            <a:spLocks noChangeAspect="1" noEditPoints="1"/>
          </p:cNvSpPr>
          <p:nvPr>
            <p:custDataLst>
              <p:tags r:id="rId40"/>
            </p:custDataLst>
          </p:nvPr>
        </p:nvSpPr>
        <p:spPr bwMode="auto">
          <a:xfrm>
            <a:off x="6397177" y="2941487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4" name="Freeform 92"/>
          <p:cNvSpPr>
            <a:spLocks noChangeAspect="1" noEditPoints="1"/>
          </p:cNvSpPr>
          <p:nvPr>
            <p:custDataLst>
              <p:tags r:id="rId41"/>
            </p:custDataLst>
          </p:nvPr>
        </p:nvSpPr>
        <p:spPr bwMode="auto">
          <a:xfrm>
            <a:off x="6532677" y="2942395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5" name="Freeform 92"/>
          <p:cNvSpPr>
            <a:spLocks noChangeAspect="1" noEditPoints="1"/>
          </p:cNvSpPr>
          <p:nvPr>
            <p:custDataLst>
              <p:tags r:id="rId42"/>
            </p:custDataLst>
          </p:nvPr>
        </p:nvSpPr>
        <p:spPr bwMode="auto">
          <a:xfrm>
            <a:off x="6668177" y="2942395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6" name="Freeform 92"/>
          <p:cNvSpPr>
            <a:spLocks noChangeAspect="1" noEditPoints="1"/>
          </p:cNvSpPr>
          <p:nvPr>
            <p:custDataLst>
              <p:tags r:id="rId43"/>
            </p:custDataLst>
          </p:nvPr>
        </p:nvSpPr>
        <p:spPr bwMode="auto">
          <a:xfrm>
            <a:off x="6803677" y="2941487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7" name="Freeform 92"/>
          <p:cNvSpPr>
            <a:spLocks noChangeAspect="1" noEditPoints="1"/>
          </p:cNvSpPr>
          <p:nvPr>
            <p:custDataLst>
              <p:tags r:id="rId44"/>
            </p:custDataLst>
          </p:nvPr>
        </p:nvSpPr>
        <p:spPr bwMode="auto">
          <a:xfrm>
            <a:off x="6939177" y="2941487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8" name="Freeform 92"/>
          <p:cNvSpPr>
            <a:spLocks noChangeAspect="1" noEditPoints="1"/>
          </p:cNvSpPr>
          <p:nvPr>
            <p:custDataLst>
              <p:tags r:id="rId45"/>
            </p:custDataLst>
          </p:nvPr>
        </p:nvSpPr>
        <p:spPr bwMode="auto">
          <a:xfrm>
            <a:off x="7074677" y="2942395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9" name="Freeform 92"/>
          <p:cNvSpPr>
            <a:spLocks noChangeAspect="1" noEditPoints="1"/>
          </p:cNvSpPr>
          <p:nvPr>
            <p:custDataLst>
              <p:tags r:id="rId46"/>
            </p:custDataLst>
          </p:nvPr>
        </p:nvSpPr>
        <p:spPr bwMode="auto">
          <a:xfrm>
            <a:off x="7210177" y="2942395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0" name="Freeform 92"/>
          <p:cNvSpPr>
            <a:spLocks noChangeAspect="1" noEditPoints="1"/>
          </p:cNvSpPr>
          <p:nvPr>
            <p:custDataLst>
              <p:tags r:id="rId47"/>
            </p:custDataLst>
          </p:nvPr>
        </p:nvSpPr>
        <p:spPr bwMode="auto">
          <a:xfrm>
            <a:off x="7345677" y="2942395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1" name="Freeform 92"/>
          <p:cNvSpPr>
            <a:spLocks noChangeAspect="1" noEditPoints="1"/>
          </p:cNvSpPr>
          <p:nvPr>
            <p:custDataLst>
              <p:tags r:id="rId48"/>
            </p:custDataLst>
          </p:nvPr>
        </p:nvSpPr>
        <p:spPr bwMode="auto">
          <a:xfrm>
            <a:off x="7481177" y="2942395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4" name="Freeform 92"/>
          <p:cNvSpPr>
            <a:spLocks noChangeAspect="1" noEditPoints="1"/>
          </p:cNvSpPr>
          <p:nvPr>
            <p:custDataLst>
              <p:tags r:id="rId49"/>
            </p:custDataLst>
          </p:nvPr>
        </p:nvSpPr>
        <p:spPr bwMode="auto">
          <a:xfrm>
            <a:off x="5148210" y="1497480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5" name="Freeform 92"/>
          <p:cNvSpPr>
            <a:spLocks noChangeAspect="1" noEditPoints="1"/>
          </p:cNvSpPr>
          <p:nvPr>
            <p:custDataLst>
              <p:tags r:id="rId50"/>
            </p:custDataLst>
          </p:nvPr>
        </p:nvSpPr>
        <p:spPr bwMode="auto">
          <a:xfrm>
            <a:off x="5283710" y="1497480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6" name="Freeform 92"/>
          <p:cNvSpPr>
            <a:spLocks noChangeAspect="1" noEditPoints="1"/>
          </p:cNvSpPr>
          <p:nvPr>
            <p:custDataLst>
              <p:tags r:id="rId51"/>
            </p:custDataLst>
          </p:nvPr>
        </p:nvSpPr>
        <p:spPr bwMode="auto">
          <a:xfrm>
            <a:off x="5419210" y="1498388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7" name="Freeform 92"/>
          <p:cNvSpPr>
            <a:spLocks noChangeAspect="1" noEditPoints="1"/>
          </p:cNvSpPr>
          <p:nvPr>
            <p:custDataLst>
              <p:tags r:id="rId52"/>
            </p:custDataLst>
          </p:nvPr>
        </p:nvSpPr>
        <p:spPr bwMode="auto">
          <a:xfrm>
            <a:off x="5554710" y="1498388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8" name="Freeform 92"/>
          <p:cNvSpPr>
            <a:spLocks noChangeAspect="1" noEditPoints="1"/>
          </p:cNvSpPr>
          <p:nvPr>
            <p:custDataLst>
              <p:tags r:id="rId53"/>
            </p:custDataLst>
          </p:nvPr>
        </p:nvSpPr>
        <p:spPr bwMode="auto">
          <a:xfrm>
            <a:off x="5690210" y="1497480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9" name="Freeform 92"/>
          <p:cNvSpPr>
            <a:spLocks noChangeAspect="1" noEditPoints="1"/>
          </p:cNvSpPr>
          <p:nvPr>
            <p:custDataLst>
              <p:tags r:id="rId54"/>
            </p:custDataLst>
          </p:nvPr>
        </p:nvSpPr>
        <p:spPr bwMode="auto">
          <a:xfrm>
            <a:off x="5825710" y="1497480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0" name="Freeform 92"/>
          <p:cNvSpPr>
            <a:spLocks noChangeAspect="1" noEditPoints="1"/>
          </p:cNvSpPr>
          <p:nvPr>
            <p:custDataLst>
              <p:tags r:id="rId55"/>
            </p:custDataLst>
          </p:nvPr>
        </p:nvSpPr>
        <p:spPr bwMode="auto">
          <a:xfrm>
            <a:off x="5961210" y="1498388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1" name="Freeform 92"/>
          <p:cNvSpPr>
            <a:spLocks noChangeAspect="1" noEditPoints="1"/>
          </p:cNvSpPr>
          <p:nvPr>
            <p:custDataLst>
              <p:tags r:id="rId56"/>
            </p:custDataLst>
          </p:nvPr>
        </p:nvSpPr>
        <p:spPr bwMode="auto">
          <a:xfrm>
            <a:off x="6096710" y="1498388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2" name="Freeform 92"/>
          <p:cNvSpPr>
            <a:spLocks noChangeAspect="1" noEditPoints="1"/>
          </p:cNvSpPr>
          <p:nvPr>
            <p:custDataLst>
              <p:tags r:id="rId57"/>
            </p:custDataLst>
          </p:nvPr>
        </p:nvSpPr>
        <p:spPr bwMode="auto">
          <a:xfrm>
            <a:off x="6232210" y="1497480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3" name="Freeform 92"/>
          <p:cNvSpPr>
            <a:spLocks noChangeAspect="1" noEditPoints="1"/>
          </p:cNvSpPr>
          <p:nvPr>
            <p:custDataLst>
              <p:tags r:id="rId58"/>
            </p:custDataLst>
          </p:nvPr>
        </p:nvSpPr>
        <p:spPr bwMode="auto">
          <a:xfrm>
            <a:off x="6367710" y="1497480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4" name="Freeform 92"/>
          <p:cNvSpPr>
            <a:spLocks noChangeAspect="1" noEditPoints="1"/>
          </p:cNvSpPr>
          <p:nvPr>
            <p:custDataLst>
              <p:tags r:id="rId59"/>
            </p:custDataLst>
          </p:nvPr>
        </p:nvSpPr>
        <p:spPr bwMode="auto">
          <a:xfrm>
            <a:off x="6503210" y="1498388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5" name="Freeform 92"/>
          <p:cNvSpPr>
            <a:spLocks noChangeAspect="1" noEditPoints="1"/>
          </p:cNvSpPr>
          <p:nvPr>
            <p:custDataLst>
              <p:tags r:id="rId60"/>
            </p:custDataLst>
          </p:nvPr>
        </p:nvSpPr>
        <p:spPr bwMode="auto">
          <a:xfrm>
            <a:off x="6638710" y="1498388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6" name="Freeform 92"/>
          <p:cNvSpPr>
            <a:spLocks noChangeAspect="1" noEditPoints="1"/>
          </p:cNvSpPr>
          <p:nvPr>
            <p:custDataLst>
              <p:tags r:id="rId61"/>
            </p:custDataLst>
          </p:nvPr>
        </p:nvSpPr>
        <p:spPr bwMode="auto">
          <a:xfrm>
            <a:off x="6774210" y="1497480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7" name="Freeform 92"/>
          <p:cNvSpPr>
            <a:spLocks noChangeAspect="1" noEditPoints="1"/>
          </p:cNvSpPr>
          <p:nvPr>
            <p:custDataLst>
              <p:tags r:id="rId62"/>
            </p:custDataLst>
          </p:nvPr>
        </p:nvSpPr>
        <p:spPr bwMode="auto">
          <a:xfrm>
            <a:off x="6909710" y="1497480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8" name="Freeform 92"/>
          <p:cNvSpPr>
            <a:spLocks noChangeAspect="1" noEditPoints="1"/>
          </p:cNvSpPr>
          <p:nvPr>
            <p:custDataLst>
              <p:tags r:id="rId63"/>
            </p:custDataLst>
          </p:nvPr>
        </p:nvSpPr>
        <p:spPr bwMode="auto">
          <a:xfrm>
            <a:off x="7045210" y="1498388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9" name="Freeform 92"/>
          <p:cNvSpPr>
            <a:spLocks noChangeAspect="1" noEditPoints="1"/>
          </p:cNvSpPr>
          <p:nvPr>
            <p:custDataLst>
              <p:tags r:id="rId64"/>
            </p:custDataLst>
          </p:nvPr>
        </p:nvSpPr>
        <p:spPr bwMode="auto">
          <a:xfrm>
            <a:off x="7180710" y="1498388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0" name="Freeform 92"/>
          <p:cNvSpPr>
            <a:spLocks noChangeAspect="1" noEditPoints="1"/>
          </p:cNvSpPr>
          <p:nvPr>
            <p:custDataLst>
              <p:tags r:id="rId65"/>
            </p:custDataLst>
          </p:nvPr>
        </p:nvSpPr>
        <p:spPr bwMode="auto">
          <a:xfrm>
            <a:off x="7316210" y="1498388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1" name="Freeform 92"/>
          <p:cNvSpPr>
            <a:spLocks noChangeAspect="1" noEditPoints="1"/>
          </p:cNvSpPr>
          <p:nvPr>
            <p:custDataLst>
              <p:tags r:id="rId66"/>
            </p:custDataLst>
          </p:nvPr>
        </p:nvSpPr>
        <p:spPr bwMode="auto">
          <a:xfrm>
            <a:off x="7451710" y="1498388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4" name="Freeform 92"/>
          <p:cNvSpPr>
            <a:spLocks noChangeAspect="1" noEditPoints="1"/>
          </p:cNvSpPr>
          <p:nvPr>
            <p:custDataLst>
              <p:tags r:id="rId67"/>
            </p:custDataLst>
          </p:nvPr>
        </p:nvSpPr>
        <p:spPr bwMode="auto">
          <a:xfrm>
            <a:off x="5148210" y="4028086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5" name="Freeform 92"/>
          <p:cNvSpPr>
            <a:spLocks noChangeAspect="1" noEditPoints="1"/>
          </p:cNvSpPr>
          <p:nvPr>
            <p:custDataLst>
              <p:tags r:id="rId68"/>
            </p:custDataLst>
          </p:nvPr>
        </p:nvSpPr>
        <p:spPr bwMode="auto">
          <a:xfrm>
            <a:off x="5283710" y="4028086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6" name="Freeform 92"/>
          <p:cNvSpPr>
            <a:spLocks noChangeAspect="1" noEditPoints="1"/>
          </p:cNvSpPr>
          <p:nvPr>
            <p:custDataLst>
              <p:tags r:id="rId69"/>
            </p:custDataLst>
          </p:nvPr>
        </p:nvSpPr>
        <p:spPr bwMode="auto">
          <a:xfrm>
            <a:off x="5419210" y="4028994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7" name="Freeform 92"/>
          <p:cNvSpPr>
            <a:spLocks noChangeAspect="1" noEditPoints="1"/>
          </p:cNvSpPr>
          <p:nvPr>
            <p:custDataLst>
              <p:tags r:id="rId70"/>
            </p:custDataLst>
          </p:nvPr>
        </p:nvSpPr>
        <p:spPr bwMode="auto">
          <a:xfrm>
            <a:off x="5554710" y="4028994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8" name="Freeform 92"/>
          <p:cNvSpPr>
            <a:spLocks noChangeAspect="1" noEditPoints="1"/>
          </p:cNvSpPr>
          <p:nvPr>
            <p:custDataLst>
              <p:tags r:id="rId71"/>
            </p:custDataLst>
          </p:nvPr>
        </p:nvSpPr>
        <p:spPr bwMode="auto">
          <a:xfrm>
            <a:off x="5690210" y="4028086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9" name="Freeform 92"/>
          <p:cNvSpPr>
            <a:spLocks noChangeAspect="1" noEditPoints="1"/>
          </p:cNvSpPr>
          <p:nvPr>
            <p:custDataLst>
              <p:tags r:id="rId72"/>
            </p:custDataLst>
          </p:nvPr>
        </p:nvSpPr>
        <p:spPr bwMode="auto">
          <a:xfrm>
            <a:off x="5825710" y="4028086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2" name="Freeform 92"/>
          <p:cNvSpPr>
            <a:spLocks noChangeAspect="1" noEditPoints="1"/>
          </p:cNvSpPr>
          <p:nvPr>
            <p:custDataLst>
              <p:tags r:id="rId73"/>
            </p:custDataLst>
          </p:nvPr>
        </p:nvSpPr>
        <p:spPr bwMode="auto">
          <a:xfrm>
            <a:off x="5157735" y="3425015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3" name="Freeform 92"/>
          <p:cNvSpPr>
            <a:spLocks noChangeAspect="1" noEditPoints="1"/>
          </p:cNvSpPr>
          <p:nvPr>
            <p:custDataLst>
              <p:tags r:id="rId74"/>
            </p:custDataLst>
          </p:nvPr>
        </p:nvSpPr>
        <p:spPr bwMode="auto">
          <a:xfrm>
            <a:off x="5293235" y="3425015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4" name="Freeform 92"/>
          <p:cNvSpPr>
            <a:spLocks noChangeAspect="1" noEditPoints="1"/>
          </p:cNvSpPr>
          <p:nvPr>
            <p:custDataLst>
              <p:tags r:id="rId75"/>
            </p:custDataLst>
          </p:nvPr>
        </p:nvSpPr>
        <p:spPr bwMode="auto">
          <a:xfrm>
            <a:off x="5428735" y="3425923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5" name="Freeform 92"/>
          <p:cNvSpPr>
            <a:spLocks noChangeAspect="1" noEditPoints="1"/>
          </p:cNvSpPr>
          <p:nvPr>
            <p:custDataLst>
              <p:tags r:id="rId76"/>
            </p:custDataLst>
          </p:nvPr>
        </p:nvSpPr>
        <p:spPr bwMode="auto">
          <a:xfrm>
            <a:off x="5564235" y="3425923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6" name="Freeform 92"/>
          <p:cNvSpPr>
            <a:spLocks noChangeAspect="1" noEditPoints="1"/>
          </p:cNvSpPr>
          <p:nvPr>
            <p:custDataLst>
              <p:tags r:id="rId77"/>
            </p:custDataLst>
          </p:nvPr>
        </p:nvSpPr>
        <p:spPr bwMode="auto">
          <a:xfrm>
            <a:off x="5699735" y="3425015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7" name="Freeform 92"/>
          <p:cNvSpPr>
            <a:spLocks noChangeAspect="1" noEditPoints="1"/>
          </p:cNvSpPr>
          <p:nvPr>
            <p:custDataLst>
              <p:tags r:id="rId78"/>
            </p:custDataLst>
          </p:nvPr>
        </p:nvSpPr>
        <p:spPr bwMode="auto">
          <a:xfrm>
            <a:off x="5157735" y="2140120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8" name="Freeform 92"/>
          <p:cNvSpPr>
            <a:spLocks noChangeAspect="1" noEditPoints="1"/>
          </p:cNvSpPr>
          <p:nvPr>
            <p:custDataLst>
              <p:tags r:id="rId79"/>
            </p:custDataLst>
          </p:nvPr>
        </p:nvSpPr>
        <p:spPr bwMode="auto">
          <a:xfrm>
            <a:off x="5293235" y="2140120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9" name="Freeform 92"/>
          <p:cNvSpPr>
            <a:spLocks noChangeAspect="1" noEditPoints="1"/>
          </p:cNvSpPr>
          <p:nvPr>
            <p:custDataLst>
              <p:tags r:id="rId80"/>
            </p:custDataLst>
          </p:nvPr>
        </p:nvSpPr>
        <p:spPr bwMode="auto">
          <a:xfrm>
            <a:off x="5428735" y="2141028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0" name="Freeform 92"/>
          <p:cNvSpPr>
            <a:spLocks noChangeAspect="1" noEditPoints="1"/>
          </p:cNvSpPr>
          <p:nvPr>
            <p:custDataLst>
              <p:tags r:id="rId81"/>
            </p:custDataLst>
          </p:nvPr>
        </p:nvSpPr>
        <p:spPr bwMode="auto">
          <a:xfrm>
            <a:off x="5564235" y="2141028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1" name="Freeform 92"/>
          <p:cNvSpPr>
            <a:spLocks noChangeAspect="1" noEditPoints="1"/>
          </p:cNvSpPr>
          <p:nvPr>
            <p:custDataLst>
              <p:tags r:id="rId82"/>
            </p:custDataLst>
          </p:nvPr>
        </p:nvSpPr>
        <p:spPr bwMode="auto">
          <a:xfrm>
            <a:off x="5699735" y="2140120"/>
            <a:ext cx="116083" cy="274320"/>
          </a:xfrm>
          <a:custGeom>
            <a:avLst/>
            <a:gdLst>
              <a:gd name="T0" fmla="*/ 790 w 880"/>
              <a:gd name="T1" fmla="*/ 1355 h 2080"/>
              <a:gd name="T2" fmla="*/ 718 w 880"/>
              <a:gd name="T3" fmla="*/ 1883 h 2080"/>
              <a:gd name="T4" fmla="*/ 440 w 880"/>
              <a:gd name="T5" fmla="*/ 2080 h 2080"/>
              <a:gd name="T6" fmla="*/ 161 w 880"/>
              <a:gd name="T7" fmla="*/ 1883 h 2080"/>
              <a:gd name="T8" fmla="*/ 90 w 880"/>
              <a:gd name="T9" fmla="*/ 1355 h 2080"/>
              <a:gd name="T10" fmla="*/ 0 w 880"/>
              <a:gd name="T11" fmla="*/ 1200 h 2080"/>
              <a:gd name="T12" fmla="*/ 167 w 880"/>
              <a:gd name="T13" fmla="*/ 613 h 2080"/>
              <a:gd name="T14" fmla="*/ 440 w 880"/>
              <a:gd name="T15" fmla="*/ 720 h 2080"/>
              <a:gd name="T16" fmla="*/ 712 w 880"/>
              <a:gd name="T17" fmla="*/ 613 h 2080"/>
              <a:gd name="T18" fmla="*/ 880 w 880"/>
              <a:gd name="T19" fmla="*/ 1200 h 2080"/>
              <a:gd name="T20" fmla="*/ 790 w 880"/>
              <a:gd name="T21" fmla="*/ 1355 h 2080"/>
              <a:gd name="T22" fmla="*/ 440 w 880"/>
              <a:gd name="T23" fmla="*/ 0 h 2080"/>
              <a:gd name="T24" fmla="*/ 760 w 880"/>
              <a:gd name="T25" fmla="*/ 320 h 2080"/>
              <a:gd name="T26" fmla="*/ 440 w 880"/>
              <a:gd name="T27" fmla="*/ 640 h 2080"/>
              <a:gd name="T28" fmla="*/ 120 w 880"/>
              <a:gd name="T29" fmla="*/ 320 h 2080"/>
              <a:gd name="T30" fmla="*/ 440 w 880"/>
              <a:gd name="T31" fmla="*/ 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80" h="2080">
                <a:moveTo>
                  <a:pt x="790" y="1355"/>
                </a:moveTo>
                <a:cubicBezTo>
                  <a:pt x="718" y="1883"/>
                  <a:pt x="718" y="1883"/>
                  <a:pt x="718" y="1883"/>
                </a:cubicBezTo>
                <a:cubicBezTo>
                  <a:pt x="704" y="1989"/>
                  <a:pt x="579" y="2080"/>
                  <a:pt x="440" y="2080"/>
                </a:cubicBezTo>
                <a:cubicBezTo>
                  <a:pt x="300" y="2080"/>
                  <a:pt x="182" y="1988"/>
                  <a:pt x="161" y="1883"/>
                </a:cubicBezTo>
                <a:cubicBezTo>
                  <a:pt x="90" y="1355"/>
                  <a:pt x="90" y="1355"/>
                  <a:pt x="90" y="1355"/>
                </a:cubicBezTo>
                <a:cubicBezTo>
                  <a:pt x="35" y="1317"/>
                  <a:pt x="0" y="1267"/>
                  <a:pt x="0" y="1200"/>
                </a:cubicBezTo>
                <a:cubicBezTo>
                  <a:pt x="0" y="981"/>
                  <a:pt x="50" y="763"/>
                  <a:pt x="167" y="613"/>
                </a:cubicBezTo>
                <a:cubicBezTo>
                  <a:pt x="239" y="679"/>
                  <a:pt x="334" y="720"/>
                  <a:pt x="440" y="720"/>
                </a:cubicBezTo>
                <a:cubicBezTo>
                  <a:pt x="545" y="720"/>
                  <a:pt x="640" y="679"/>
                  <a:pt x="712" y="613"/>
                </a:cubicBezTo>
                <a:cubicBezTo>
                  <a:pt x="829" y="763"/>
                  <a:pt x="880" y="981"/>
                  <a:pt x="880" y="1200"/>
                </a:cubicBezTo>
                <a:cubicBezTo>
                  <a:pt x="880" y="1267"/>
                  <a:pt x="844" y="1318"/>
                  <a:pt x="790" y="1355"/>
                </a:cubicBezTo>
                <a:close/>
                <a:moveTo>
                  <a:pt x="440" y="0"/>
                </a:moveTo>
                <a:cubicBezTo>
                  <a:pt x="616" y="0"/>
                  <a:pt x="760" y="143"/>
                  <a:pt x="760" y="320"/>
                </a:cubicBezTo>
                <a:cubicBezTo>
                  <a:pt x="760" y="497"/>
                  <a:pt x="616" y="640"/>
                  <a:pt x="440" y="640"/>
                </a:cubicBezTo>
                <a:cubicBezTo>
                  <a:pt x="263" y="640"/>
                  <a:pt x="120" y="497"/>
                  <a:pt x="120" y="320"/>
                </a:cubicBezTo>
                <a:cubicBezTo>
                  <a:pt x="120" y="143"/>
                  <a:pt x="263" y="0"/>
                  <a:pt x="440" y="0"/>
                </a:cubicBezTo>
                <a:close/>
              </a:path>
            </a:pathLst>
          </a:custGeom>
          <a:solidFill>
            <a:srgbClr val="E95E0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585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3"/>
          <p:cNvSpPr/>
          <p:nvPr/>
        </p:nvSpPr>
        <p:spPr bwMode="gray">
          <a:xfrm>
            <a:off x="324559" y="4949608"/>
            <a:ext cx="7059675" cy="144044"/>
          </a:xfrm>
          <a:prstGeom prst="rect">
            <a:avLst/>
          </a:prstGeom>
          <a:noFill/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>
                <a:solidFill>
                  <a:srgbClr val="FFFFFF"/>
                </a:solidFill>
              </a:rPr>
              <a:t>© GfK 2014 </a:t>
            </a:r>
            <a:r>
              <a:rPr lang="en-GB" sz="800" dirty="0">
                <a:solidFill>
                  <a:srgbClr val="FFFFFF"/>
                </a:solidFill>
              </a:rPr>
              <a:t>Big Data in Market Research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39005" y="2356454"/>
            <a:ext cx="6916369" cy="985681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3" name="Group 2"/>
          <p:cNvGrpSpPr/>
          <p:nvPr/>
        </p:nvGrpSpPr>
        <p:grpSpPr>
          <a:xfrm>
            <a:off x="0" y="-1677240"/>
            <a:ext cx="9148763" cy="7829945"/>
            <a:chOff x="0" y="-1676722"/>
            <a:chExt cx="9144000" cy="7827528"/>
          </a:xfrm>
        </p:grpSpPr>
        <p:pic>
          <p:nvPicPr>
            <p:cNvPr id="15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1676722"/>
              <a:ext cx="9144000" cy="78275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Rechteck 227"/>
            <p:cNvSpPr/>
            <p:nvPr/>
          </p:nvSpPr>
          <p:spPr bwMode="gray">
            <a:xfrm>
              <a:off x="0" y="3480"/>
              <a:ext cx="9144000" cy="5143500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de-DE" sz="16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89313" y="195548"/>
            <a:ext cx="576379" cy="576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4474647" y="3762919"/>
            <a:ext cx="4743018" cy="1351175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54000"/>
                </a:schemeClr>
              </a:gs>
              <a:gs pos="43000">
                <a:schemeClr val="accent1">
                  <a:tint val="66000"/>
                  <a:satMod val="160000"/>
                  <a:alpha val="54000"/>
                </a:schemeClr>
              </a:gs>
              <a:gs pos="100000">
                <a:schemeClr val="accent1">
                  <a:tint val="23500"/>
                  <a:satMod val="160000"/>
                  <a:alpha val="54000"/>
                </a:schemeClr>
              </a:gs>
            </a:gsLst>
            <a:lin ang="5400000" scaled="0"/>
          </a:gradFill>
        </p:spPr>
        <p:txBody>
          <a:bodyPr wrap="square" lIns="91477" tIns="45738" rIns="91477" bIns="45738">
            <a:spAutoFit/>
          </a:bodyPr>
          <a:lstStyle/>
          <a:p>
            <a:pPr algn="ctr" defTabSz="489146">
              <a:lnSpc>
                <a:spcPct val="90000"/>
              </a:lnSpc>
              <a:spcAft>
                <a:spcPct val="35000"/>
              </a:spcAft>
            </a:pPr>
            <a:r>
              <a:rPr lang="en-GB" sz="2800" b="1" dirty="0" smtClean="0">
                <a:ln>
                  <a:solidFill>
                    <a:schemeClr val="tx1"/>
                  </a:solidFill>
                </a:ln>
                <a:solidFill>
                  <a:schemeClr val="tx2"/>
                </a:solidFill>
              </a:rPr>
              <a:t>Retail Category      Digital Engagement</a:t>
            </a:r>
            <a:endParaRPr lang="en-GB" sz="2800" b="1" dirty="0">
              <a:ln>
                <a:solidFill>
                  <a:schemeClr val="tx1"/>
                </a:solidFill>
              </a:ln>
              <a:solidFill>
                <a:schemeClr val="tx2"/>
              </a:solidFill>
            </a:endParaRPr>
          </a:p>
          <a:p>
            <a:pPr algn="ctr" defTabSz="489146">
              <a:lnSpc>
                <a:spcPct val="90000"/>
              </a:lnSpc>
              <a:spcAft>
                <a:spcPct val="35000"/>
              </a:spcAft>
            </a:pPr>
            <a:r>
              <a:rPr lang="en-GB" sz="24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ime Comparison</a:t>
            </a:r>
            <a:endParaRPr lang="en-GB" sz="24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663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gray">
          <a:xfrm>
            <a:off x="0" y="3508649"/>
            <a:ext cx="9148763" cy="16364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#4: Longer time spent on </a:t>
            </a:r>
            <a:r>
              <a:rPr lang="en-US" b="1" dirty="0" smtClean="0">
                <a:solidFill>
                  <a:srgbClr val="0070C0"/>
                </a:solidFill>
              </a:rPr>
              <a:t>web versions</a:t>
            </a:r>
            <a:r>
              <a:rPr lang="en-US" b="1" dirty="0" smtClean="0"/>
              <a:t>, except for e-</a:t>
            </a:r>
            <a:r>
              <a:rPr lang="en-US" b="1" dirty="0" err="1" smtClean="0"/>
              <a:t>tailers</a:t>
            </a:r>
            <a:endParaRPr lang="en-US" dirty="0"/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323847" y="853741"/>
            <a:ext cx="8503920" cy="2743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102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10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162" indent="-180054" algn="l" defTabSz="914675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sz="1200" dirty="0" smtClean="0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099731513"/>
              </p:ext>
            </p:extLst>
          </p:nvPr>
        </p:nvGraphicFramePr>
        <p:xfrm>
          <a:off x="627261" y="1413164"/>
          <a:ext cx="7897091" cy="2588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4390" y="997531"/>
            <a:ext cx="8293377" cy="2493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rPr>
              <a:t>TIME SPENT (MINS : VISIT)</a:t>
            </a:r>
          </a:p>
          <a:p>
            <a:pPr algn="ctr">
              <a:spcBef>
                <a:spcPts val="300"/>
              </a:spcBef>
            </a:pPr>
            <a:r>
              <a:rPr lang="en-US" sz="1600" b="1" dirty="0" smtClean="0">
                <a:solidFill>
                  <a:srgbClr val="0070C0"/>
                </a:solidFill>
                <a:latin typeface="Arial" pitchFamily="34" charset="0"/>
              </a:rPr>
              <a:t>WEB</a:t>
            </a:r>
            <a:r>
              <a:rPr lang="en-US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rPr>
              <a:t> vs </a:t>
            </a:r>
            <a:r>
              <a:rPr lang="en-US" sz="1600" b="1" dirty="0" smtClean="0">
                <a:solidFill>
                  <a:srgbClr val="E95E0F"/>
                </a:solidFill>
                <a:latin typeface="Arial" pitchFamily="34" charset="0"/>
              </a:rPr>
              <a:t>APP</a:t>
            </a:r>
          </a:p>
        </p:txBody>
      </p:sp>
      <p:sp>
        <p:nvSpPr>
          <p:cNvPr id="7" name="Freeform 23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7265419" y="3993531"/>
            <a:ext cx="716776" cy="666675"/>
          </a:xfrm>
          <a:custGeom>
            <a:avLst/>
            <a:gdLst>
              <a:gd name="T0" fmla="*/ 1560 w 1920"/>
              <a:gd name="T1" fmla="*/ 1786 h 1786"/>
              <a:gd name="T2" fmla="*/ 242 w 1920"/>
              <a:gd name="T3" fmla="*/ 1677 h 1786"/>
              <a:gd name="T4" fmla="*/ 0 w 1920"/>
              <a:gd name="T5" fmla="*/ 666 h 1786"/>
              <a:gd name="T6" fmla="*/ 1920 w 1920"/>
              <a:gd name="T7" fmla="*/ 872 h 1786"/>
              <a:gd name="T8" fmla="*/ 1800 w 1920"/>
              <a:gd name="T9" fmla="*/ 854 h 1786"/>
              <a:gd name="T10" fmla="*/ 1660 w 1920"/>
              <a:gd name="T11" fmla="*/ 826 h 1786"/>
              <a:gd name="T12" fmla="*/ 1742 w 1920"/>
              <a:gd name="T13" fmla="*/ 1046 h 1786"/>
              <a:gd name="T14" fmla="*/ 120 w 1920"/>
              <a:gd name="T15" fmla="*/ 826 h 1786"/>
              <a:gd name="T16" fmla="*/ 178 w 1920"/>
              <a:gd name="T17" fmla="*/ 1046 h 1786"/>
              <a:gd name="T18" fmla="*/ 260 w 1920"/>
              <a:gd name="T19" fmla="*/ 826 h 1786"/>
              <a:gd name="T20" fmla="*/ 214 w 1920"/>
              <a:gd name="T21" fmla="*/ 1166 h 1786"/>
              <a:gd name="T22" fmla="*/ 260 w 1920"/>
              <a:gd name="T23" fmla="*/ 1166 h 1786"/>
              <a:gd name="T24" fmla="*/ 380 w 1920"/>
              <a:gd name="T25" fmla="*/ 1666 h 1786"/>
              <a:gd name="T26" fmla="*/ 580 w 1920"/>
              <a:gd name="T27" fmla="*/ 1486 h 1786"/>
              <a:gd name="T28" fmla="*/ 380 w 1920"/>
              <a:gd name="T29" fmla="*/ 1666 h 1786"/>
              <a:gd name="T30" fmla="*/ 900 w 1920"/>
              <a:gd name="T31" fmla="*/ 1666 h 1786"/>
              <a:gd name="T32" fmla="*/ 700 w 1920"/>
              <a:gd name="T33" fmla="*/ 1486 h 1786"/>
              <a:gd name="T34" fmla="*/ 1020 w 1920"/>
              <a:gd name="T35" fmla="*/ 1666 h 1786"/>
              <a:gd name="T36" fmla="*/ 1220 w 1920"/>
              <a:gd name="T37" fmla="*/ 1486 h 1786"/>
              <a:gd name="T38" fmla="*/ 1020 w 1920"/>
              <a:gd name="T39" fmla="*/ 1666 h 1786"/>
              <a:gd name="T40" fmla="*/ 1540 w 1920"/>
              <a:gd name="T41" fmla="*/ 1666 h 1786"/>
              <a:gd name="T42" fmla="*/ 1340 w 1920"/>
              <a:gd name="T43" fmla="*/ 1486 h 1786"/>
              <a:gd name="T44" fmla="*/ 1660 w 1920"/>
              <a:gd name="T45" fmla="*/ 1322 h 1786"/>
              <a:gd name="T46" fmla="*/ 1660 w 1920"/>
              <a:gd name="T47" fmla="*/ 1166 h 1786"/>
              <a:gd name="T48" fmla="*/ 1540 w 1920"/>
              <a:gd name="T49" fmla="*/ 1366 h 1786"/>
              <a:gd name="T50" fmla="*/ 1340 w 1920"/>
              <a:gd name="T51" fmla="*/ 1166 h 1786"/>
              <a:gd name="T52" fmla="*/ 1540 w 1920"/>
              <a:gd name="T53" fmla="*/ 1366 h 1786"/>
              <a:gd name="T54" fmla="*/ 1220 w 1920"/>
              <a:gd name="T55" fmla="*/ 1166 h 1786"/>
              <a:gd name="T56" fmla="*/ 1020 w 1920"/>
              <a:gd name="T57" fmla="*/ 1366 h 1786"/>
              <a:gd name="T58" fmla="*/ 900 w 1920"/>
              <a:gd name="T59" fmla="*/ 1366 h 1786"/>
              <a:gd name="T60" fmla="*/ 700 w 1920"/>
              <a:gd name="T61" fmla="*/ 1166 h 1786"/>
              <a:gd name="T62" fmla="*/ 900 w 1920"/>
              <a:gd name="T63" fmla="*/ 1366 h 1786"/>
              <a:gd name="T64" fmla="*/ 580 w 1920"/>
              <a:gd name="T65" fmla="*/ 1166 h 1786"/>
              <a:gd name="T66" fmla="*/ 380 w 1920"/>
              <a:gd name="T67" fmla="*/ 1366 h 1786"/>
              <a:gd name="T68" fmla="*/ 380 w 1920"/>
              <a:gd name="T69" fmla="*/ 1046 h 1786"/>
              <a:gd name="T70" fmla="*/ 580 w 1920"/>
              <a:gd name="T71" fmla="*/ 826 h 1786"/>
              <a:gd name="T72" fmla="*/ 380 w 1920"/>
              <a:gd name="T73" fmla="*/ 1046 h 1786"/>
              <a:gd name="T74" fmla="*/ 598 w 1920"/>
              <a:gd name="T75" fmla="*/ 24 h 1786"/>
              <a:gd name="T76" fmla="*/ 682 w 1920"/>
              <a:gd name="T77" fmla="*/ 108 h 1786"/>
              <a:gd name="T78" fmla="*/ 35 w 1920"/>
              <a:gd name="T79" fmla="*/ 586 h 1786"/>
              <a:gd name="T80" fmla="*/ 1238 w 1920"/>
              <a:gd name="T81" fmla="*/ 108 h 1786"/>
              <a:gd name="T82" fmla="*/ 1322 w 1920"/>
              <a:gd name="T83" fmla="*/ 24 h 1786"/>
              <a:gd name="T84" fmla="*/ 1715 w 1920"/>
              <a:gd name="T85" fmla="*/ 586 h 1786"/>
              <a:gd name="T86" fmla="*/ 900 w 1920"/>
              <a:gd name="T87" fmla="*/ 1046 h 1786"/>
              <a:gd name="T88" fmla="*/ 700 w 1920"/>
              <a:gd name="T89" fmla="*/ 826 h 1786"/>
              <a:gd name="T90" fmla="*/ 1020 w 1920"/>
              <a:gd name="T91" fmla="*/ 1046 h 1786"/>
              <a:gd name="T92" fmla="*/ 1220 w 1920"/>
              <a:gd name="T93" fmla="*/ 826 h 1786"/>
              <a:gd name="T94" fmla="*/ 1020 w 1920"/>
              <a:gd name="T95" fmla="*/ 1046 h 1786"/>
              <a:gd name="T96" fmla="*/ 1540 w 1920"/>
              <a:gd name="T97" fmla="*/ 1046 h 1786"/>
              <a:gd name="T98" fmla="*/ 1340 w 1920"/>
              <a:gd name="T99" fmla="*/ 826 h 17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920" h="1786">
                <a:moveTo>
                  <a:pt x="1678" y="1677"/>
                </a:moveTo>
                <a:cubicBezTo>
                  <a:pt x="1661" y="1734"/>
                  <a:pt x="1625" y="1786"/>
                  <a:pt x="1560" y="1786"/>
                </a:cubicBezTo>
                <a:cubicBezTo>
                  <a:pt x="360" y="1786"/>
                  <a:pt x="360" y="1786"/>
                  <a:pt x="360" y="1786"/>
                </a:cubicBezTo>
                <a:cubicBezTo>
                  <a:pt x="295" y="1786"/>
                  <a:pt x="259" y="1734"/>
                  <a:pt x="242" y="1677"/>
                </a:cubicBezTo>
                <a:cubicBezTo>
                  <a:pt x="0" y="872"/>
                  <a:pt x="0" y="872"/>
                  <a:pt x="0" y="872"/>
                </a:cubicBezTo>
                <a:cubicBezTo>
                  <a:pt x="0" y="666"/>
                  <a:pt x="0" y="666"/>
                  <a:pt x="0" y="666"/>
                </a:cubicBezTo>
                <a:cubicBezTo>
                  <a:pt x="1920" y="666"/>
                  <a:pt x="1920" y="666"/>
                  <a:pt x="1920" y="666"/>
                </a:cubicBezTo>
                <a:cubicBezTo>
                  <a:pt x="1920" y="872"/>
                  <a:pt x="1920" y="872"/>
                  <a:pt x="1920" y="872"/>
                </a:cubicBezTo>
                <a:lnTo>
                  <a:pt x="1678" y="1677"/>
                </a:lnTo>
                <a:close/>
                <a:moveTo>
                  <a:pt x="1800" y="854"/>
                </a:moveTo>
                <a:cubicBezTo>
                  <a:pt x="1800" y="826"/>
                  <a:pt x="1800" y="826"/>
                  <a:pt x="1800" y="826"/>
                </a:cubicBezTo>
                <a:cubicBezTo>
                  <a:pt x="1660" y="826"/>
                  <a:pt x="1660" y="826"/>
                  <a:pt x="1660" y="826"/>
                </a:cubicBezTo>
                <a:cubicBezTo>
                  <a:pt x="1660" y="1046"/>
                  <a:pt x="1660" y="1046"/>
                  <a:pt x="1660" y="1046"/>
                </a:cubicBezTo>
                <a:cubicBezTo>
                  <a:pt x="1742" y="1046"/>
                  <a:pt x="1742" y="1046"/>
                  <a:pt x="1742" y="1046"/>
                </a:cubicBezTo>
                <a:lnTo>
                  <a:pt x="1800" y="854"/>
                </a:lnTo>
                <a:close/>
                <a:moveTo>
                  <a:pt x="120" y="826"/>
                </a:moveTo>
                <a:cubicBezTo>
                  <a:pt x="120" y="854"/>
                  <a:pt x="120" y="854"/>
                  <a:pt x="120" y="854"/>
                </a:cubicBezTo>
                <a:cubicBezTo>
                  <a:pt x="178" y="1046"/>
                  <a:pt x="178" y="1046"/>
                  <a:pt x="178" y="1046"/>
                </a:cubicBezTo>
                <a:cubicBezTo>
                  <a:pt x="260" y="1046"/>
                  <a:pt x="260" y="1046"/>
                  <a:pt x="260" y="1046"/>
                </a:cubicBezTo>
                <a:cubicBezTo>
                  <a:pt x="260" y="826"/>
                  <a:pt x="260" y="826"/>
                  <a:pt x="260" y="826"/>
                </a:cubicBezTo>
                <a:lnTo>
                  <a:pt x="120" y="826"/>
                </a:lnTo>
                <a:close/>
                <a:moveTo>
                  <a:pt x="214" y="1166"/>
                </a:moveTo>
                <a:cubicBezTo>
                  <a:pt x="260" y="1322"/>
                  <a:pt x="260" y="1322"/>
                  <a:pt x="260" y="1322"/>
                </a:cubicBezTo>
                <a:cubicBezTo>
                  <a:pt x="260" y="1166"/>
                  <a:pt x="260" y="1166"/>
                  <a:pt x="260" y="1166"/>
                </a:cubicBezTo>
                <a:lnTo>
                  <a:pt x="214" y="1166"/>
                </a:lnTo>
                <a:close/>
                <a:moveTo>
                  <a:pt x="380" y="1666"/>
                </a:moveTo>
                <a:cubicBezTo>
                  <a:pt x="580" y="1666"/>
                  <a:pt x="580" y="1666"/>
                  <a:pt x="580" y="1666"/>
                </a:cubicBezTo>
                <a:cubicBezTo>
                  <a:pt x="580" y="1486"/>
                  <a:pt x="580" y="1486"/>
                  <a:pt x="580" y="1486"/>
                </a:cubicBezTo>
                <a:cubicBezTo>
                  <a:pt x="380" y="1486"/>
                  <a:pt x="380" y="1486"/>
                  <a:pt x="380" y="1486"/>
                </a:cubicBezTo>
                <a:lnTo>
                  <a:pt x="380" y="1666"/>
                </a:lnTo>
                <a:close/>
                <a:moveTo>
                  <a:pt x="700" y="1666"/>
                </a:moveTo>
                <a:cubicBezTo>
                  <a:pt x="900" y="1666"/>
                  <a:pt x="900" y="1666"/>
                  <a:pt x="900" y="1666"/>
                </a:cubicBezTo>
                <a:cubicBezTo>
                  <a:pt x="900" y="1486"/>
                  <a:pt x="900" y="1486"/>
                  <a:pt x="900" y="1486"/>
                </a:cubicBezTo>
                <a:cubicBezTo>
                  <a:pt x="700" y="1486"/>
                  <a:pt x="700" y="1486"/>
                  <a:pt x="700" y="1486"/>
                </a:cubicBezTo>
                <a:lnTo>
                  <a:pt x="700" y="1666"/>
                </a:lnTo>
                <a:close/>
                <a:moveTo>
                  <a:pt x="1020" y="1666"/>
                </a:moveTo>
                <a:cubicBezTo>
                  <a:pt x="1220" y="1666"/>
                  <a:pt x="1220" y="1666"/>
                  <a:pt x="1220" y="1666"/>
                </a:cubicBezTo>
                <a:cubicBezTo>
                  <a:pt x="1220" y="1486"/>
                  <a:pt x="1220" y="1486"/>
                  <a:pt x="1220" y="1486"/>
                </a:cubicBezTo>
                <a:cubicBezTo>
                  <a:pt x="1020" y="1486"/>
                  <a:pt x="1020" y="1486"/>
                  <a:pt x="1020" y="1486"/>
                </a:cubicBezTo>
                <a:lnTo>
                  <a:pt x="1020" y="1666"/>
                </a:lnTo>
                <a:close/>
                <a:moveTo>
                  <a:pt x="1340" y="1666"/>
                </a:moveTo>
                <a:cubicBezTo>
                  <a:pt x="1540" y="1666"/>
                  <a:pt x="1540" y="1666"/>
                  <a:pt x="1540" y="1666"/>
                </a:cubicBezTo>
                <a:cubicBezTo>
                  <a:pt x="1540" y="1486"/>
                  <a:pt x="1540" y="1486"/>
                  <a:pt x="1540" y="1486"/>
                </a:cubicBezTo>
                <a:cubicBezTo>
                  <a:pt x="1340" y="1486"/>
                  <a:pt x="1340" y="1486"/>
                  <a:pt x="1340" y="1486"/>
                </a:cubicBezTo>
                <a:lnTo>
                  <a:pt x="1340" y="1666"/>
                </a:lnTo>
                <a:close/>
                <a:moveTo>
                  <a:pt x="1660" y="1322"/>
                </a:moveTo>
                <a:cubicBezTo>
                  <a:pt x="1706" y="1166"/>
                  <a:pt x="1706" y="1166"/>
                  <a:pt x="1706" y="1166"/>
                </a:cubicBezTo>
                <a:cubicBezTo>
                  <a:pt x="1660" y="1166"/>
                  <a:pt x="1660" y="1166"/>
                  <a:pt x="1660" y="1166"/>
                </a:cubicBezTo>
                <a:lnTo>
                  <a:pt x="1660" y="1322"/>
                </a:lnTo>
                <a:close/>
                <a:moveTo>
                  <a:pt x="1540" y="1366"/>
                </a:moveTo>
                <a:cubicBezTo>
                  <a:pt x="1540" y="1166"/>
                  <a:pt x="1540" y="1166"/>
                  <a:pt x="1540" y="1166"/>
                </a:cubicBezTo>
                <a:cubicBezTo>
                  <a:pt x="1340" y="1166"/>
                  <a:pt x="1340" y="1166"/>
                  <a:pt x="1340" y="1166"/>
                </a:cubicBezTo>
                <a:cubicBezTo>
                  <a:pt x="1340" y="1366"/>
                  <a:pt x="1340" y="1366"/>
                  <a:pt x="1340" y="1366"/>
                </a:cubicBezTo>
                <a:lnTo>
                  <a:pt x="1540" y="1366"/>
                </a:lnTo>
                <a:close/>
                <a:moveTo>
                  <a:pt x="1220" y="1366"/>
                </a:moveTo>
                <a:cubicBezTo>
                  <a:pt x="1220" y="1166"/>
                  <a:pt x="1220" y="1166"/>
                  <a:pt x="1220" y="1166"/>
                </a:cubicBezTo>
                <a:cubicBezTo>
                  <a:pt x="1020" y="1166"/>
                  <a:pt x="1020" y="1166"/>
                  <a:pt x="1020" y="1166"/>
                </a:cubicBezTo>
                <a:cubicBezTo>
                  <a:pt x="1020" y="1366"/>
                  <a:pt x="1020" y="1366"/>
                  <a:pt x="1020" y="1366"/>
                </a:cubicBezTo>
                <a:lnTo>
                  <a:pt x="1220" y="1366"/>
                </a:lnTo>
                <a:close/>
                <a:moveTo>
                  <a:pt x="900" y="1366"/>
                </a:moveTo>
                <a:cubicBezTo>
                  <a:pt x="900" y="1166"/>
                  <a:pt x="900" y="1166"/>
                  <a:pt x="900" y="1166"/>
                </a:cubicBezTo>
                <a:cubicBezTo>
                  <a:pt x="700" y="1166"/>
                  <a:pt x="700" y="1166"/>
                  <a:pt x="700" y="1166"/>
                </a:cubicBezTo>
                <a:cubicBezTo>
                  <a:pt x="700" y="1366"/>
                  <a:pt x="700" y="1366"/>
                  <a:pt x="700" y="1366"/>
                </a:cubicBezTo>
                <a:lnTo>
                  <a:pt x="900" y="1366"/>
                </a:lnTo>
                <a:close/>
                <a:moveTo>
                  <a:pt x="580" y="1366"/>
                </a:moveTo>
                <a:cubicBezTo>
                  <a:pt x="580" y="1166"/>
                  <a:pt x="580" y="1166"/>
                  <a:pt x="580" y="1166"/>
                </a:cubicBezTo>
                <a:cubicBezTo>
                  <a:pt x="380" y="1166"/>
                  <a:pt x="380" y="1166"/>
                  <a:pt x="380" y="1166"/>
                </a:cubicBezTo>
                <a:cubicBezTo>
                  <a:pt x="380" y="1366"/>
                  <a:pt x="380" y="1366"/>
                  <a:pt x="380" y="1366"/>
                </a:cubicBezTo>
                <a:lnTo>
                  <a:pt x="580" y="1366"/>
                </a:lnTo>
                <a:close/>
                <a:moveTo>
                  <a:pt x="380" y="1046"/>
                </a:moveTo>
                <a:cubicBezTo>
                  <a:pt x="580" y="1046"/>
                  <a:pt x="580" y="1046"/>
                  <a:pt x="580" y="1046"/>
                </a:cubicBezTo>
                <a:cubicBezTo>
                  <a:pt x="580" y="826"/>
                  <a:pt x="580" y="826"/>
                  <a:pt x="580" y="826"/>
                </a:cubicBezTo>
                <a:cubicBezTo>
                  <a:pt x="380" y="826"/>
                  <a:pt x="380" y="826"/>
                  <a:pt x="380" y="826"/>
                </a:cubicBezTo>
                <a:lnTo>
                  <a:pt x="380" y="1046"/>
                </a:lnTo>
                <a:close/>
                <a:moveTo>
                  <a:pt x="35" y="586"/>
                </a:moveTo>
                <a:cubicBezTo>
                  <a:pt x="598" y="24"/>
                  <a:pt x="598" y="24"/>
                  <a:pt x="598" y="24"/>
                </a:cubicBezTo>
                <a:cubicBezTo>
                  <a:pt x="621" y="0"/>
                  <a:pt x="659" y="0"/>
                  <a:pt x="682" y="24"/>
                </a:cubicBezTo>
                <a:cubicBezTo>
                  <a:pt x="706" y="47"/>
                  <a:pt x="706" y="85"/>
                  <a:pt x="682" y="108"/>
                </a:cubicBezTo>
                <a:cubicBezTo>
                  <a:pt x="205" y="586"/>
                  <a:pt x="205" y="586"/>
                  <a:pt x="205" y="586"/>
                </a:cubicBezTo>
                <a:lnTo>
                  <a:pt x="35" y="586"/>
                </a:lnTo>
                <a:close/>
                <a:moveTo>
                  <a:pt x="1715" y="586"/>
                </a:moveTo>
                <a:cubicBezTo>
                  <a:pt x="1238" y="108"/>
                  <a:pt x="1238" y="108"/>
                  <a:pt x="1238" y="108"/>
                </a:cubicBezTo>
                <a:cubicBezTo>
                  <a:pt x="1214" y="85"/>
                  <a:pt x="1214" y="47"/>
                  <a:pt x="1238" y="24"/>
                </a:cubicBezTo>
                <a:cubicBezTo>
                  <a:pt x="1261" y="0"/>
                  <a:pt x="1299" y="0"/>
                  <a:pt x="1322" y="24"/>
                </a:cubicBezTo>
                <a:cubicBezTo>
                  <a:pt x="1885" y="586"/>
                  <a:pt x="1885" y="586"/>
                  <a:pt x="1885" y="586"/>
                </a:cubicBezTo>
                <a:lnTo>
                  <a:pt x="1715" y="586"/>
                </a:lnTo>
                <a:close/>
                <a:moveTo>
                  <a:pt x="700" y="1046"/>
                </a:moveTo>
                <a:cubicBezTo>
                  <a:pt x="900" y="1046"/>
                  <a:pt x="900" y="1046"/>
                  <a:pt x="900" y="1046"/>
                </a:cubicBezTo>
                <a:cubicBezTo>
                  <a:pt x="900" y="826"/>
                  <a:pt x="900" y="826"/>
                  <a:pt x="900" y="826"/>
                </a:cubicBezTo>
                <a:cubicBezTo>
                  <a:pt x="700" y="826"/>
                  <a:pt x="700" y="826"/>
                  <a:pt x="700" y="826"/>
                </a:cubicBezTo>
                <a:lnTo>
                  <a:pt x="700" y="1046"/>
                </a:lnTo>
                <a:close/>
                <a:moveTo>
                  <a:pt x="1020" y="1046"/>
                </a:moveTo>
                <a:cubicBezTo>
                  <a:pt x="1220" y="1046"/>
                  <a:pt x="1220" y="1046"/>
                  <a:pt x="1220" y="1046"/>
                </a:cubicBezTo>
                <a:cubicBezTo>
                  <a:pt x="1220" y="826"/>
                  <a:pt x="1220" y="826"/>
                  <a:pt x="1220" y="826"/>
                </a:cubicBezTo>
                <a:cubicBezTo>
                  <a:pt x="1020" y="826"/>
                  <a:pt x="1020" y="826"/>
                  <a:pt x="1020" y="826"/>
                </a:cubicBezTo>
                <a:lnTo>
                  <a:pt x="1020" y="1046"/>
                </a:lnTo>
                <a:close/>
                <a:moveTo>
                  <a:pt x="1340" y="1046"/>
                </a:moveTo>
                <a:cubicBezTo>
                  <a:pt x="1540" y="1046"/>
                  <a:pt x="1540" y="1046"/>
                  <a:pt x="1540" y="1046"/>
                </a:cubicBezTo>
                <a:cubicBezTo>
                  <a:pt x="1540" y="826"/>
                  <a:pt x="1540" y="826"/>
                  <a:pt x="1540" y="826"/>
                </a:cubicBezTo>
                <a:cubicBezTo>
                  <a:pt x="1340" y="826"/>
                  <a:pt x="1340" y="826"/>
                  <a:pt x="1340" y="826"/>
                </a:cubicBezTo>
                <a:lnTo>
                  <a:pt x="1340" y="104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8" name="Freeform 101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638349" y="3993531"/>
            <a:ext cx="741134" cy="654536"/>
          </a:xfrm>
          <a:custGeom>
            <a:avLst/>
            <a:gdLst>
              <a:gd name="T0" fmla="*/ 1220 w 2174"/>
              <a:gd name="T1" fmla="*/ 1480 h 1920"/>
              <a:gd name="T2" fmla="*/ 1437 w 2174"/>
              <a:gd name="T3" fmla="*/ 1700 h 1920"/>
              <a:gd name="T4" fmla="*/ 1220 w 2174"/>
              <a:gd name="T5" fmla="*/ 1920 h 1920"/>
              <a:gd name="T6" fmla="*/ 774 w 2174"/>
              <a:gd name="T7" fmla="*/ 1920 h 1920"/>
              <a:gd name="T8" fmla="*/ 557 w 2174"/>
              <a:gd name="T9" fmla="*/ 1700 h 1920"/>
              <a:gd name="T10" fmla="*/ 774 w 2174"/>
              <a:gd name="T11" fmla="*/ 1480 h 1920"/>
              <a:gd name="T12" fmla="*/ 1220 w 2174"/>
              <a:gd name="T13" fmla="*/ 1480 h 1920"/>
              <a:gd name="T14" fmla="*/ 196 w 2174"/>
              <a:gd name="T15" fmla="*/ 1262 h 1920"/>
              <a:gd name="T16" fmla="*/ 636 w 2174"/>
              <a:gd name="T17" fmla="*/ 1185 h 1920"/>
              <a:gd name="T18" fmla="*/ 887 w 2174"/>
              <a:gd name="T19" fmla="*/ 1364 h 1920"/>
              <a:gd name="T20" fmla="*/ 891 w 2174"/>
              <a:gd name="T21" fmla="*/ 1400 h 1920"/>
              <a:gd name="T22" fmla="*/ 774 w 2174"/>
              <a:gd name="T23" fmla="*/ 1400 h 1920"/>
              <a:gd name="T24" fmla="*/ 480 w 2174"/>
              <a:gd name="T25" fmla="*/ 1659 h 1920"/>
              <a:gd name="T26" fmla="*/ 272 w 2174"/>
              <a:gd name="T27" fmla="*/ 1696 h 1920"/>
              <a:gd name="T28" fmla="*/ 21 w 2174"/>
              <a:gd name="T29" fmla="*/ 1516 h 1920"/>
              <a:gd name="T30" fmla="*/ 196 w 2174"/>
              <a:gd name="T31" fmla="*/ 1262 h 1920"/>
              <a:gd name="T32" fmla="*/ 1974 w 2174"/>
              <a:gd name="T33" fmla="*/ 320 h 1920"/>
              <a:gd name="T34" fmla="*/ 2174 w 2174"/>
              <a:gd name="T35" fmla="*/ 520 h 1920"/>
              <a:gd name="T36" fmla="*/ 2174 w 2174"/>
              <a:gd name="T37" fmla="*/ 1521 h 1920"/>
              <a:gd name="T38" fmla="*/ 1974 w 2174"/>
              <a:gd name="T39" fmla="*/ 1720 h 1920"/>
              <a:gd name="T40" fmla="*/ 1516 w 2174"/>
              <a:gd name="T41" fmla="*/ 1720 h 1920"/>
              <a:gd name="T42" fmla="*/ 1220 w 2174"/>
              <a:gd name="T43" fmla="*/ 1400 h 1920"/>
              <a:gd name="T44" fmla="*/ 974 w 2174"/>
              <a:gd name="T45" fmla="*/ 1400 h 1920"/>
              <a:gd name="T46" fmla="*/ 974 w 2174"/>
              <a:gd name="T47" fmla="*/ 520 h 1920"/>
              <a:gd name="T48" fmla="*/ 1174 w 2174"/>
              <a:gd name="T49" fmla="*/ 320 h 1920"/>
              <a:gd name="T50" fmla="*/ 1187 w 2174"/>
              <a:gd name="T51" fmla="*/ 318 h 1920"/>
              <a:gd name="T52" fmla="*/ 1960 w 2174"/>
              <a:gd name="T53" fmla="*/ 318 h 1920"/>
              <a:gd name="T54" fmla="*/ 1974 w 2174"/>
              <a:gd name="T55" fmla="*/ 320 h 1920"/>
              <a:gd name="T56" fmla="*/ 1174 w 2174"/>
              <a:gd name="T57" fmla="*/ 680 h 1920"/>
              <a:gd name="T58" fmla="*/ 1174 w 2174"/>
              <a:gd name="T59" fmla="*/ 1280 h 1920"/>
              <a:gd name="T60" fmla="*/ 1934 w 2174"/>
              <a:gd name="T61" fmla="*/ 1280 h 1920"/>
              <a:gd name="T62" fmla="*/ 1974 w 2174"/>
              <a:gd name="T63" fmla="*/ 1280 h 1920"/>
              <a:gd name="T64" fmla="*/ 1974 w 2174"/>
              <a:gd name="T65" fmla="*/ 1240 h 1920"/>
              <a:gd name="T66" fmla="*/ 1974 w 2174"/>
              <a:gd name="T67" fmla="*/ 680 h 1920"/>
              <a:gd name="T68" fmla="*/ 1174 w 2174"/>
              <a:gd name="T69" fmla="*/ 680 h 1920"/>
              <a:gd name="T70" fmla="*/ 1894 w 2174"/>
              <a:gd name="T71" fmla="*/ 760 h 1920"/>
              <a:gd name="T72" fmla="*/ 1894 w 2174"/>
              <a:gd name="T73" fmla="*/ 1200 h 1920"/>
              <a:gd name="T74" fmla="*/ 1254 w 2174"/>
              <a:gd name="T75" fmla="*/ 1200 h 1920"/>
              <a:gd name="T76" fmla="*/ 1254 w 2174"/>
              <a:gd name="T77" fmla="*/ 760 h 1920"/>
              <a:gd name="T78" fmla="*/ 1894 w 2174"/>
              <a:gd name="T79" fmla="*/ 760 h 1920"/>
              <a:gd name="T80" fmla="*/ 1214 w 2174"/>
              <a:gd name="T81" fmla="*/ 0 h 1920"/>
              <a:gd name="T82" fmla="*/ 1934 w 2174"/>
              <a:gd name="T83" fmla="*/ 0 h 1920"/>
              <a:gd name="T84" fmla="*/ 2054 w 2174"/>
              <a:gd name="T85" fmla="*/ 120 h 1920"/>
              <a:gd name="T86" fmla="*/ 2054 w 2174"/>
              <a:gd name="T87" fmla="*/ 160 h 1920"/>
              <a:gd name="T88" fmla="*/ 1934 w 2174"/>
              <a:gd name="T89" fmla="*/ 280 h 1920"/>
              <a:gd name="T90" fmla="*/ 1214 w 2174"/>
              <a:gd name="T91" fmla="*/ 280 h 1920"/>
              <a:gd name="T92" fmla="*/ 1094 w 2174"/>
              <a:gd name="T93" fmla="*/ 160 h 1920"/>
              <a:gd name="T94" fmla="*/ 1094 w 2174"/>
              <a:gd name="T95" fmla="*/ 120 h 1920"/>
              <a:gd name="T96" fmla="*/ 1214 w 2174"/>
              <a:gd name="T97" fmla="*/ 0 h 1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174" h="1920">
                <a:moveTo>
                  <a:pt x="1220" y="1480"/>
                </a:moveTo>
                <a:cubicBezTo>
                  <a:pt x="1341" y="1480"/>
                  <a:pt x="1437" y="1580"/>
                  <a:pt x="1437" y="1700"/>
                </a:cubicBezTo>
                <a:cubicBezTo>
                  <a:pt x="1437" y="1820"/>
                  <a:pt x="1341" y="1920"/>
                  <a:pt x="1220" y="1920"/>
                </a:cubicBezTo>
                <a:cubicBezTo>
                  <a:pt x="774" y="1920"/>
                  <a:pt x="774" y="1920"/>
                  <a:pt x="774" y="1920"/>
                </a:cubicBezTo>
                <a:cubicBezTo>
                  <a:pt x="653" y="1920"/>
                  <a:pt x="557" y="1820"/>
                  <a:pt x="557" y="1700"/>
                </a:cubicBezTo>
                <a:cubicBezTo>
                  <a:pt x="557" y="1580"/>
                  <a:pt x="653" y="1480"/>
                  <a:pt x="774" y="1480"/>
                </a:cubicBezTo>
                <a:lnTo>
                  <a:pt x="1220" y="1480"/>
                </a:lnTo>
                <a:close/>
                <a:moveTo>
                  <a:pt x="196" y="1262"/>
                </a:moveTo>
                <a:cubicBezTo>
                  <a:pt x="636" y="1185"/>
                  <a:pt x="636" y="1185"/>
                  <a:pt x="636" y="1185"/>
                </a:cubicBezTo>
                <a:cubicBezTo>
                  <a:pt x="755" y="1164"/>
                  <a:pt x="866" y="1246"/>
                  <a:pt x="887" y="1364"/>
                </a:cubicBezTo>
                <a:cubicBezTo>
                  <a:pt x="890" y="1376"/>
                  <a:pt x="890" y="1388"/>
                  <a:pt x="891" y="1400"/>
                </a:cubicBezTo>
                <a:cubicBezTo>
                  <a:pt x="774" y="1400"/>
                  <a:pt x="774" y="1400"/>
                  <a:pt x="774" y="1400"/>
                </a:cubicBezTo>
                <a:cubicBezTo>
                  <a:pt x="625" y="1400"/>
                  <a:pt x="500" y="1512"/>
                  <a:pt x="480" y="1659"/>
                </a:cubicBezTo>
                <a:cubicBezTo>
                  <a:pt x="272" y="1696"/>
                  <a:pt x="272" y="1696"/>
                  <a:pt x="272" y="1696"/>
                </a:cubicBezTo>
                <a:cubicBezTo>
                  <a:pt x="153" y="1716"/>
                  <a:pt x="42" y="1634"/>
                  <a:pt x="21" y="1516"/>
                </a:cubicBezTo>
                <a:cubicBezTo>
                  <a:pt x="0" y="1398"/>
                  <a:pt x="77" y="1283"/>
                  <a:pt x="196" y="1262"/>
                </a:cubicBezTo>
                <a:close/>
                <a:moveTo>
                  <a:pt x="1974" y="320"/>
                </a:moveTo>
                <a:cubicBezTo>
                  <a:pt x="2084" y="320"/>
                  <a:pt x="2174" y="410"/>
                  <a:pt x="2174" y="520"/>
                </a:cubicBezTo>
                <a:cubicBezTo>
                  <a:pt x="2174" y="1521"/>
                  <a:pt x="2174" y="1521"/>
                  <a:pt x="2174" y="1521"/>
                </a:cubicBezTo>
                <a:cubicBezTo>
                  <a:pt x="2174" y="1631"/>
                  <a:pt x="2084" y="1720"/>
                  <a:pt x="1974" y="1720"/>
                </a:cubicBezTo>
                <a:cubicBezTo>
                  <a:pt x="1516" y="1720"/>
                  <a:pt x="1516" y="1720"/>
                  <a:pt x="1516" y="1720"/>
                </a:cubicBezTo>
                <a:cubicBezTo>
                  <a:pt x="1528" y="1549"/>
                  <a:pt x="1393" y="1400"/>
                  <a:pt x="1220" y="1400"/>
                </a:cubicBezTo>
                <a:cubicBezTo>
                  <a:pt x="974" y="1400"/>
                  <a:pt x="974" y="1400"/>
                  <a:pt x="974" y="1400"/>
                </a:cubicBezTo>
                <a:cubicBezTo>
                  <a:pt x="974" y="520"/>
                  <a:pt x="974" y="520"/>
                  <a:pt x="974" y="520"/>
                </a:cubicBezTo>
                <a:cubicBezTo>
                  <a:pt x="974" y="410"/>
                  <a:pt x="1064" y="320"/>
                  <a:pt x="1174" y="320"/>
                </a:cubicBezTo>
                <a:cubicBezTo>
                  <a:pt x="1178" y="320"/>
                  <a:pt x="1183" y="319"/>
                  <a:pt x="1187" y="318"/>
                </a:cubicBezTo>
                <a:cubicBezTo>
                  <a:pt x="1960" y="318"/>
                  <a:pt x="1960" y="318"/>
                  <a:pt x="1960" y="318"/>
                </a:cubicBezTo>
                <a:cubicBezTo>
                  <a:pt x="1964" y="319"/>
                  <a:pt x="1969" y="320"/>
                  <a:pt x="1974" y="320"/>
                </a:cubicBezTo>
                <a:close/>
                <a:moveTo>
                  <a:pt x="1174" y="680"/>
                </a:moveTo>
                <a:cubicBezTo>
                  <a:pt x="1174" y="1280"/>
                  <a:pt x="1174" y="1280"/>
                  <a:pt x="1174" y="1280"/>
                </a:cubicBezTo>
                <a:cubicBezTo>
                  <a:pt x="1934" y="1280"/>
                  <a:pt x="1934" y="1280"/>
                  <a:pt x="1934" y="1280"/>
                </a:cubicBezTo>
                <a:cubicBezTo>
                  <a:pt x="1974" y="1280"/>
                  <a:pt x="1974" y="1280"/>
                  <a:pt x="1974" y="1280"/>
                </a:cubicBezTo>
                <a:cubicBezTo>
                  <a:pt x="1974" y="1240"/>
                  <a:pt x="1974" y="1240"/>
                  <a:pt x="1974" y="1240"/>
                </a:cubicBezTo>
                <a:cubicBezTo>
                  <a:pt x="1974" y="680"/>
                  <a:pt x="1974" y="680"/>
                  <a:pt x="1974" y="680"/>
                </a:cubicBezTo>
                <a:lnTo>
                  <a:pt x="1174" y="680"/>
                </a:lnTo>
                <a:close/>
                <a:moveTo>
                  <a:pt x="1894" y="760"/>
                </a:moveTo>
                <a:cubicBezTo>
                  <a:pt x="1894" y="1200"/>
                  <a:pt x="1894" y="1200"/>
                  <a:pt x="1894" y="1200"/>
                </a:cubicBezTo>
                <a:cubicBezTo>
                  <a:pt x="1254" y="1200"/>
                  <a:pt x="1254" y="1200"/>
                  <a:pt x="1254" y="1200"/>
                </a:cubicBezTo>
                <a:cubicBezTo>
                  <a:pt x="1254" y="760"/>
                  <a:pt x="1254" y="760"/>
                  <a:pt x="1254" y="760"/>
                </a:cubicBezTo>
                <a:lnTo>
                  <a:pt x="1894" y="760"/>
                </a:lnTo>
                <a:close/>
                <a:moveTo>
                  <a:pt x="1214" y="0"/>
                </a:moveTo>
                <a:cubicBezTo>
                  <a:pt x="1934" y="0"/>
                  <a:pt x="1934" y="0"/>
                  <a:pt x="1934" y="0"/>
                </a:cubicBezTo>
                <a:cubicBezTo>
                  <a:pt x="2000" y="0"/>
                  <a:pt x="2054" y="54"/>
                  <a:pt x="2054" y="120"/>
                </a:cubicBezTo>
                <a:cubicBezTo>
                  <a:pt x="2054" y="160"/>
                  <a:pt x="2054" y="160"/>
                  <a:pt x="2054" y="160"/>
                </a:cubicBezTo>
                <a:cubicBezTo>
                  <a:pt x="2054" y="226"/>
                  <a:pt x="2000" y="280"/>
                  <a:pt x="1934" y="280"/>
                </a:cubicBezTo>
                <a:cubicBezTo>
                  <a:pt x="1214" y="280"/>
                  <a:pt x="1214" y="280"/>
                  <a:pt x="1214" y="280"/>
                </a:cubicBezTo>
                <a:cubicBezTo>
                  <a:pt x="1148" y="280"/>
                  <a:pt x="1094" y="226"/>
                  <a:pt x="1094" y="160"/>
                </a:cubicBezTo>
                <a:cubicBezTo>
                  <a:pt x="1094" y="120"/>
                  <a:pt x="1094" y="120"/>
                  <a:pt x="1094" y="120"/>
                </a:cubicBezTo>
                <a:cubicBezTo>
                  <a:pt x="1094" y="54"/>
                  <a:pt x="1148" y="0"/>
                  <a:pt x="1214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Freeform 22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4129805" y="3970393"/>
            <a:ext cx="892003" cy="658808"/>
          </a:xfrm>
          <a:custGeom>
            <a:avLst/>
            <a:gdLst>
              <a:gd name="T0" fmla="*/ 4413 w 5424"/>
              <a:gd name="T1" fmla="*/ 2610 h 4006"/>
              <a:gd name="T2" fmla="*/ 4413 w 5424"/>
              <a:gd name="T3" fmla="*/ 3628 h 4006"/>
              <a:gd name="T4" fmla="*/ 4980 w 5424"/>
              <a:gd name="T5" fmla="*/ 3628 h 4006"/>
              <a:gd name="T6" fmla="*/ 4980 w 5424"/>
              <a:gd name="T7" fmla="*/ 2421 h 4006"/>
              <a:gd name="T8" fmla="*/ 4602 w 5424"/>
              <a:gd name="T9" fmla="*/ 2799 h 4006"/>
              <a:gd name="T10" fmla="*/ 4413 w 5424"/>
              <a:gd name="T11" fmla="*/ 2610 h 4006"/>
              <a:gd name="T12" fmla="*/ 3090 w 5424"/>
              <a:gd name="T13" fmla="*/ 4006 h 4006"/>
              <a:gd name="T14" fmla="*/ 3657 w 5424"/>
              <a:gd name="T15" fmla="*/ 4006 h 4006"/>
              <a:gd name="T16" fmla="*/ 3657 w 5424"/>
              <a:gd name="T17" fmla="*/ 2494 h 4006"/>
              <a:gd name="T18" fmla="*/ 3090 w 5424"/>
              <a:gd name="T19" fmla="*/ 2494 h 4006"/>
              <a:gd name="T20" fmla="*/ 3090 w 5424"/>
              <a:gd name="T21" fmla="*/ 4006 h 4006"/>
              <a:gd name="T22" fmla="*/ 1578 w 5424"/>
              <a:gd name="T23" fmla="*/ 2305 h 4006"/>
              <a:gd name="T24" fmla="*/ 1578 w 5424"/>
              <a:gd name="T25" fmla="*/ 3250 h 4006"/>
              <a:gd name="T26" fmla="*/ 2712 w 5424"/>
              <a:gd name="T27" fmla="*/ 3250 h 4006"/>
              <a:gd name="T28" fmla="*/ 2712 w 5424"/>
              <a:gd name="T29" fmla="*/ 2305 h 4006"/>
              <a:gd name="T30" fmla="*/ 1578 w 5424"/>
              <a:gd name="T31" fmla="*/ 2305 h 4006"/>
              <a:gd name="T32" fmla="*/ 2523 w 5424"/>
              <a:gd name="T33" fmla="*/ 2494 h 4006"/>
              <a:gd name="T34" fmla="*/ 2523 w 5424"/>
              <a:gd name="T35" fmla="*/ 3061 h 4006"/>
              <a:gd name="T36" fmla="*/ 1767 w 5424"/>
              <a:gd name="T37" fmla="*/ 3061 h 4006"/>
              <a:gd name="T38" fmla="*/ 1767 w 5424"/>
              <a:gd name="T39" fmla="*/ 2494 h 4006"/>
              <a:gd name="T40" fmla="*/ 2523 w 5424"/>
              <a:gd name="T41" fmla="*/ 2494 h 4006"/>
              <a:gd name="T42" fmla="*/ 756 w 5424"/>
              <a:gd name="T43" fmla="*/ 2334 h 4006"/>
              <a:gd name="T44" fmla="*/ 2712 w 5424"/>
              <a:gd name="T45" fmla="*/ 389 h 4006"/>
              <a:gd name="T46" fmla="*/ 4668 w 5424"/>
              <a:gd name="T47" fmla="*/ 2334 h 4006"/>
              <a:gd name="T48" fmla="*/ 4535 w 5424"/>
              <a:gd name="T49" fmla="*/ 2466 h 4006"/>
              <a:gd name="T50" fmla="*/ 4224 w 5424"/>
              <a:gd name="T51" fmla="*/ 2156 h 4006"/>
              <a:gd name="T52" fmla="*/ 4224 w 5424"/>
              <a:gd name="T53" fmla="*/ 4006 h 4006"/>
              <a:gd name="T54" fmla="*/ 3846 w 5424"/>
              <a:gd name="T55" fmla="*/ 4006 h 4006"/>
              <a:gd name="T56" fmla="*/ 3846 w 5424"/>
              <a:gd name="T57" fmla="*/ 2305 h 4006"/>
              <a:gd name="T58" fmla="*/ 2901 w 5424"/>
              <a:gd name="T59" fmla="*/ 2305 h 4006"/>
              <a:gd name="T60" fmla="*/ 2901 w 5424"/>
              <a:gd name="T61" fmla="*/ 4006 h 4006"/>
              <a:gd name="T62" fmla="*/ 1200 w 5424"/>
              <a:gd name="T63" fmla="*/ 4006 h 4006"/>
              <a:gd name="T64" fmla="*/ 1200 w 5424"/>
              <a:gd name="T65" fmla="*/ 2156 h 4006"/>
              <a:gd name="T66" fmla="*/ 889 w 5424"/>
              <a:gd name="T67" fmla="*/ 2466 h 4006"/>
              <a:gd name="T68" fmla="*/ 756 w 5424"/>
              <a:gd name="T69" fmla="*/ 2334 h 4006"/>
              <a:gd name="T70" fmla="*/ 4980 w 5424"/>
              <a:gd name="T71" fmla="*/ 2376 h 4006"/>
              <a:gd name="T72" fmla="*/ 4980 w 5424"/>
              <a:gd name="T73" fmla="*/ 1871 h 4006"/>
              <a:gd name="T74" fmla="*/ 5291 w 5424"/>
              <a:gd name="T75" fmla="*/ 2182 h 4006"/>
              <a:gd name="T76" fmla="*/ 5424 w 5424"/>
              <a:gd name="T77" fmla="*/ 2050 h 4006"/>
              <a:gd name="T78" fmla="*/ 3562 w 5424"/>
              <a:gd name="T79" fmla="*/ 189 h 4006"/>
              <a:gd name="T80" fmla="*/ 3170 w 5424"/>
              <a:gd name="T81" fmla="*/ 578 h 4006"/>
              <a:gd name="T82" fmla="*/ 4980 w 5424"/>
              <a:gd name="T83" fmla="*/ 2376 h 4006"/>
              <a:gd name="T84" fmla="*/ 1011 w 5424"/>
              <a:gd name="T85" fmla="*/ 3250 h 4006"/>
              <a:gd name="T86" fmla="*/ 445 w 5424"/>
              <a:gd name="T87" fmla="*/ 3250 h 4006"/>
              <a:gd name="T88" fmla="*/ 445 w 5424"/>
              <a:gd name="T89" fmla="*/ 2421 h 4006"/>
              <a:gd name="T90" fmla="*/ 822 w 5424"/>
              <a:gd name="T91" fmla="*/ 2799 h 4006"/>
              <a:gd name="T92" fmla="*/ 1011 w 5424"/>
              <a:gd name="T93" fmla="*/ 2610 h 4006"/>
              <a:gd name="T94" fmla="*/ 1011 w 5424"/>
              <a:gd name="T95" fmla="*/ 3250 h 4006"/>
              <a:gd name="T96" fmla="*/ 445 w 5424"/>
              <a:gd name="T97" fmla="*/ 2376 h 4006"/>
              <a:gd name="T98" fmla="*/ 445 w 5424"/>
              <a:gd name="T99" fmla="*/ 1587 h 4006"/>
              <a:gd name="T100" fmla="*/ 133 w 5424"/>
              <a:gd name="T101" fmla="*/ 1899 h 4006"/>
              <a:gd name="T102" fmla="*/ 0 w 5424"/>
              <a:gd name="T103" fmla="*/ 1767 h 4006"/>
              <a:gd name="T104" fmla="*/ 1767 w 5424"/>
              <a:gd name="T105" fmla="*/ 0 h 4006"/>
              <a:gd name="T106" fmla="*/ 2301 w 5424"/>
              <a:gd name="T107" fmla="*/ 531 h 4006"/>
              <a:gd name="T108" fmla="*/ 445 w 5424"/>
              <a:gd name="T109" fmla="*/ 2376 h 40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424" h="4006">
                <a:moveTo>
                  <a:pt x="4413" y="2610"/>
                </a:moveTo>
                <a:lnTo>
                  <a:pt x="4413" y="3628"/>
                </a:lnTo>
                <a:lnTo>
                  <a:pt x="4980" y="3628"/>
                </a:lnTo>
                <a:lnTo>
                  <a:pt x="4980" y="2421"/>
                </a:lnTo>
                <a:lnTo>
                  <a:pt x="4602" y="2799"/>
                </a:lnTo>
                <a:lnTo>
                  <a:pt x="4413" y="2610"/>
                </a:lnTo>
                <a:close/>
                <a:moveTo>
                  <a:pt x="3090" y="4006"/>
                </a:moveTo>
                <a:lnTo>
                  <a:pt x="3657" y="4006"/>
                </a:lnTo>
                <a:lnTo>
                  <a:pt x="3657" y="2494"/>
                </a:lnTo>
                <a:lnTo>
                  <a:pt x="3090" y="2494"/>
                </a:lnTo>
                <a:lnTo>
                  <a:pt x="3090" y="4006"/>
                </a:lnTo>
                <a:close/>
                <a:moveTo>
                  <a:pt x="1578" y="2305"/>
                </a:moveTo>
                <a:lnTo>
                  <a:pt x="1578" y="3250"/>
                </a:lnTo>
                <a:lnTo>
                  <a:pt x="2712" y="3250"/>
                </a:lnTo>
                <a:lnTo>
                  <a:pt x="2712" y="2305"/>
                </a:lnTo>
                <a:lnTo>
                  <a:pt x="1578" y="2305"/>
                </a:lnTo>
                <a:close/>
                <a:moveTo>
                  <a:pt x="2523" y="2494"/>
                </a:moveTo>
                <a:lnTo>
                  <a:pt x="2523" y="3061"/>
                </a:lnTo>
                <a:lnTo>
                  <a:pt x="1767" y="3061"/>
                </a:lnTo>
                <a:lnTo>
                  <a:pt x="1767" y="2494"/>
                </a:lnTo>
                <a:lnTo>
                  <a:pt x="2523" y="2494"/>
                </a:lnTo>
                <a:close/>
                <a:moveTo>
                  <a:pt x="756" y="2334"/>
                </a:moveTo>
                <a:lnTo>
                  <a:pt x="2712" y="389"/>
                </a:lnTo>
                <a:lnTo>
                  <a:pt x="4668" y="2334"/>
                </a:lnTo>
                <a:lnTo>
                  <a:pt x="4535" y="2466"/>
                </a:lnTo>
                <a:lnTo>
                  <a:pt x="4224" y="2156"/>
                </a:lnTo>
                <a:lnTo>
                  <a:pt x="4224" y="4006"/>
                </a:lnTo>
                <a:lnTo>
                  <a:pt x="3846" y="4006"/>
                </a:lnTo>
                <a:lnTo>
                  <a:pt x="3846" y="2305"/>
                </a:lnTo>
                <a:lnTo>
                  <a:pt x="2901" y="2305"/>
                </a:lnTo>
                <a:lnTo>
                  <a:pt x="2901" y="4006"/>
                </a:lnTo>
                <a:lnTo>
                  <a:pt x="1200" y="4006"/>
                </a:lnTo>
                <a:lnTo>
                  <a:pt x="1200" y="2156"/>
                </a:lnTo>
                <a:lnTo>
                  <a:pt x="889" y="2466"/>
                </a:lnTo>
                <a:lnTo>
                  <a:pt x="756" y="2334"/>
                </a:lnTo>
                <a:close/>
                <a:moveTo>
                  <a:pt x="4980" y="2376"/>
                </a:moveTo>
                <a:lnTo>
                  <a:pt x="4980" y="1871"/>
                </a:lnTo>
                <a:lnTo>
                  <a:pt x="5291" y="2182"/>
                </a:lnTo>
                <a:lnTo>
                  <a:pt x="5424" y="2050"/>
                </a:lnTo>
                <a:lnTo>
                  <a:pt x="3562" y="189"/>
                </a:lnTo>
                <a:lnTo>
                  <a:pt x="3170" y="578"/>
                </a:lnTo>
                <a:lnTo>
                  <a:pt x="4980" y="2376"/>
                </a:lnTo>
                <a:close/>
                <a:moveTo>
                  <a:pt x="1011" y="3250"/>
                </a:moveTo>
                <a:lnTo>
                  <a:pt x="445" y="3250"/>
                </a:lnTo>
                <a:lnTo>
                  <a:pt x="445" y="2421"/>
                </a:lnTo>
                <a:lnTo>
                  <a:pt x="822" y="2799"/>
                </a:lnTo>
                <a:lnTo>
                  <a:pt x="1011" y="2610"/>
                </a:lnTo>
                <a:lnTo>
                  <a:pt x="1011" y="3250"/>
                </a:lnTo>
                <a:close/>
                <a:moveTo>
                  <a:pt x="445" y="2376"/>
                </a:moveTo>
                <a:lnTo>
                  <a:pt x="445" y="1587"/>
                </a:lnTo>
                <a:lnTo>
                  <a:pt x="133" y="1899"/>
                </a:lnTo>
                <a:lnTo>
                  <a:pt x="0" y="1767"/>
                </a:lnTo>
                <a:lnTo>
                  <a:pt x="1767" y="0"/>
                </a:lnTo>
                <a:lnTo>
                  <a:pt x="2301" y="531"/>
                </a:lnTo>
                <a:lnTo>
                  <a:pt x="445" y="237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0" name="Freeform 31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1293850" y="3993531"/>
            <a:ext cx="415040" cy="635670"/>
          </a:xfrm>
          <a:custGeom>
            <a:avLst/>
            <a:gdLst>
              <a:gd name="T0" fmla="*/ 400 w 1280"/>
              <a:gd name="T1" fmla="*/ 0 h 1960"/>
              <a:gd name="T2" fmla="*/ 880 w 1280"/>
              <a:gd name="T3" fmla="*/ 0 h 1960"/>
              <a:gd name="T4" fmla="*/ 1280 w 1280"/>
              <a:gd name="T5" fmla="*/ 400 h 1960"/>
              <a:gd name="T6" fmla="*/ 1280 w 1280"/>
              <a:gd name="T7" fmla="*/ 1320 h 1960"/>
              <a:gd name="T8" fmla="*/ 640 w 1280"/>
              <a:gd name="T9" fmla="*/ 1960 h 1960"/>
              <a:gd name="T10" fmla="*/ 0 w 1280"/>
              <a:gd name="T11" fmla="*/ 1320 h 1960"/>
              <a:gd name="T12" fmla="*/ 0 w 1280"/>
              <a:gd name="T13" fmla="*/ 400 h 1960"/>
              <a:gd name="T14" fmla="*/ 400 w 1280"/>
              <a:gd name="T15" fmla="*/ 0 h 1960"/>
              <a:gd name="T16" fmla="*/ 640 w 1280"/>
              <a:gd name="T17" fmla="*/ 160 h 1960"/>
              <a:gd name="T18" fmla="*/ 560 w 1280"/>
              <a:gd name="T19" fmla="*/ 240 h 1960"/>
              <a:gd name="T20" fmla="*/ 560 w 1280"/>
              <a:gd name="T21" fmla="*/ 480 h 1960"/>
              <a:gd name="T22" fmla="*/ 640 w 1280"/>
              <a:gd name="T23" fmla="*/ 560 h 1960"/>
              <a:gd name="T24" fmla="*/ 720 w 1280"/>
              <a:gd name="T25" fmla="*/ 480 h 1960"/>
              <a:gd name="T26" fmla="*/ 720 w 1280"/>
              <a:gd name="T27" fmla="*/ 240 h 1960"/>
              <a:gd name="T28" fmla="*/ 640 w 1280"/>
              <a:gd name="T29" fmla="*/ 160 h 1960"/>
              <a:gd name="T30" fmla="*/ 80 w 1280"/>
              <a:gd name="T31" fmla="*/ 640 h 1960"/>
              <a:gd name="T32" fmla="*/ 80 w 1280"/>
              <a:gd name="T33" fmla="*/ 720 h 1960"/>
              <a:gd name="T34" fmla="*/ 1200 w 1280"/>
              <a:gd name="T35" fmla="*/ 720 h 1960"/>
              <a:gd name="T36" fmla="*/ 1200 w 1280"/>
              <a:gd name="T37" fmla="*/ 640 h 1960"/>
              <a:gd name="T38" fmla="*/ 80 w 1280"/>
              <a:gd name="T39" fmla="*/ 640 h 1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80" h="1960">
                <a:moveTo>
                  <a:pt x="400" y="0"/>
                </a:moveTo>
                <a:cubicBezTo>
                  <a:pt x="880" y="0"/>
                  <a:pt x="880" y="0"/>
                  <a:pt x="880" y="0"/>
                </a:cubicBezTo>
                <a:cubicBezTo>
                  <a:pt x="1101" y="0"/>
                  <a:pt x="1280" y="179"/>
                  <a:pt x="1280" y="400"/>
                </a:cubicBezTo>
                <a:cubicBezTo>
                  <a:pt x="1280" y="1320"/>
                  <a:pt x="1280" y="1320"/>
                  <a:pt x="1280" y="1320"/>
                </a:cubicBezTo>
                <a:cubicBezTo>
                  <a:pt x="1280" y="1674"/>
                  <a:pt x="994" y="1960"/>
                  <a:pt x="640" y="1960"/>
                </a:cubicBezTo>
                <a:cubicBezTo>
                  <a:pt x="286" y="1960"/>
                  <a:pt x="0" y="1674"/>
                  <a:pt x="0" y="1320"/>
                </a:cubicBezTo>
                <a:cubicBezTo>
                  <a:pt x="0" y="400"/>
                  <a:pt x="0" y="400"/>
                  <a:pt x="0" y="400"/>
                </a:cubicBezTo>
                <a:cubicBezTo>
                  <a:pt x="0" y="179"/>
                  <a:pt x="179" y="0"/>
                  <a:pt x="400" y="0"/>
                </a:cubicBezTo>
                <a:close/>
                <a:moveTo>
                  <a:pt x="640" y="160"/>
                </a:moveTo>
                <a:cubicBezTo>
                  <a:pt x="596" y="160"/>
                  <a:pt x="560" y="196"/>
                  <a:pt x="560" y="240"/>
                </a:cubicBezTo>
                <a:cubicBezTo>
                  <a:pt x="560" y="480"/>
                  <a:pt x="560" y="480"/>
                  <a:pt x="560" y="480"/>
                </a:cubicBezTo>
                <a:cubicBezTo>
                  <a:pt x="560" y="524"/>
                  <a:pt x="596" y="560"/>
                  <a:pt x="640" y="560"/>
                </a:cubicBezTo>
                <a:cubicBezTo>
                  <a:pt x="684" y="560"/>
                  <a:pt x="720" y="524"/>
                  <a:pt x="720" y="480"/>
                </a:cubicBezTo>
                <a:cubicBezTo>
                  <a:pt x="720" y="240"/>
                  <a:pt x="720" y="240"/>
                  <a:pt x="720" y="240"/>
                </a:cubicBezTo>
                <a:cubicBezTo>
                  <a:pt x="720" y="196"/>
                  <a:pt x="684" y="160"/>
                  <a:pt x="640" y="160"/>
                </a:cubicBezTo>
                <a:close/>
                <a:moveTo>
                  <a:pt x="80" y="640"/>
                </a:moveTo>
                <a:cubicBezTo>
                  <a:pt x="80" y="720"/>
                  <a:pt x="80" y="720"/>
                  <a:pt x="80" y="720"/>
                </a:cubicBezTo>
                <a:cubicBezTo>
                  <a:pt x="1200" y="720"/>
                  <a:pt x="1200" y="720"/>
                  <a:pt x="1200" y="720"/>
                </a:cubicBezTo>
                <a:cubicBezTo>
                  <a:pt x="1200" y="640"/>
                  <a:pt x="1200" y="640"/>
                  <a:pt x="1200" y="640"/>
                </a:cubicBezTo>
                <a:cubicBezTo>
                  <a:pt x="827" y="640"/>
                  <a:pt x="453" y="640"/>
                  <a:pt x="80" y="64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1" name="Freeform 187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2661549" y="3956342"/>
            <a:ext cx="809687" cy="691725"/>
          </a:xfrm>
          <a:custGeom>
            <a:avLst/>
            <a:gdLst>
              <a:gd name="T0" fmla="*/ 210 w 2092"/>
              <a:gd name="T1" fmla="*/ 424 h 1787"/>
              <a:gd name="T2" fmla="*/ 228 w 2092"/>
              <a:gd name="T3" fmla="*/ 406 h 1787"/>
              <a:gd name="T4" fmla="*/ 1025 w 2092"/>
              <a:gd name="T5" fmla="*/ 8 h 1787"/>
              <a:gd name="T6" fmla="*/ 1067 w 2092"/>
              <a:gd name="T7" fmla="*/ 8 h 1787"/>
              <a:gd name="T8" fmla="*/ 1864 w 2092"/>
              <a:gd name="T9" fmla="*/ 406 h 1787"/>
              <a:gd name="T10" fmla="*/ 1883 w 2092"/>
              <a:gd name="T11" fmla="*/ 427 h 1787"/>
              <a:gd name="T12" fmla="*/ 2082 w 2092"/>
              <a:gd name="T13" fmla="*/ 824 h 1787"/>
              <a:gd name="T14" fmla="*/ 2064 w 2092"/>
              <a:gd name="T15" fmla="*/ 878 h 1787"/>
              <a:gd name="T16" fmla="*/ 1264 w 2092"/>
              <a:gd name="T17" fmla="*/ 1278 h 1787"/>
              <a:gd name="T18" fmla="*/ 1211 w 2092"/>
              <a:gd name="T19" fmla="*/ 1261 h 1787"/>
              <a:gd name="T20" fmla="*/ 1011 w 2092"/>
              <a:gd name="T21" fmla="*/ 901 h 1787"/>
              <a:gd name="T22" fmla="*/ 1006 w 2092"/>
              <a:gd name="T23" fmla="*/ 884 h 1787"/>
              <a:gd name="T24" fmla="*/ 1006 w 2092"/>
              <a:gd name="T25" fmla="*/ 1787 h 1787"/>
              <a:gd name="T26" fmla="*/ 228 w 2092"/>
              <a:gd name="T27" fmla="*/ 1398 h 1787"/>
              <a:gd name="T28" fmla="*/ 206 w 2092"/>
              <a:gd name="T29" fmla="*/ 1362 h 1787"/>
              <a:gd name="T30" fmla="*/ 206 w 2092"/>
              <a:gd name="T31" fmla="*/ 611 h 1787"/>
              <a:gd name="T32" fmla="*/ 126 w 2092"/>
              <a:gd name="T33" fmla="*/ 769 h 1787"/>
              <a:gd name="T34" fmla="*/ 126 w 2092"/>
              <a:gd name="T35" fmla="*/ 846 h 1787"/>
              <a:gd name="T36" fmla="*/ 64 w 2092"/>
              <a:gd name="T37" fmla="*/ 878 h 1787"/>
              <a:gd name="T38" fmla="*/ 28 w 2092"/>
              <a:gd name="T39" fmla="*/ 878 h 1787"/>
              <a:gd name="T40" fmla="*/ 10 w 2092"/>
              <a:gd name="T41" fmla="*/ 824 h 1787"/>
              <a:gd name="T42" fmla="*/ 210 w 2092"/>
              <a:gd name="T43" fmla="*/ 424 h 1787"/>
              <a:gd name="T44" fmla="*/ 295 w 2092"/>
              <a:gd name="T45" fmla="*/ 462 h 1787"/>
              <a:gd name="T46" fmla="*/ 1046 w 2092"/>
              <a:gd name="T47" fmla="*/ 838 h 1787"/>
              <a:gd name="T48" fmla="*/ 1797 w 2092"/>
              <a:gd name="T49" fmla="*/ 462 h 1787"/>
              <a:gd name="T50" fmla="*/ 1086 w 2092"/>
              <a:gd name="T51" fmla="*/ 106 h 1787"/>
              <a:gd name="T52" fmla="*/ 1086 w 2092"/>
              <a:gd name="T53" fmla="*/ 639 h 1787"/>
              <a:gd name="T54" fmla="*/ 1046 w 2092"/>
              <a:gd name="T55" fmla="*/ 659 h 1787"/>
              <a:gd name="T56" fmla="*/ 1006 w 2092"/>
              <a:gd name="T57" fmla="*/ 639 h 1787"/>
              <a:gd name="T58" fmla="*/ 1006 w 2092"/>
              <a:gd name="T59" fmla="*/ 106 h 1787"/>
              <a:gd name="T60" fmla="*/ 295 w 2092"/>
              <a:gd name="T61" fmla="*/ 462 h 1787"/>
              <a:gd name="T62" fmla="*/ 1886 w 2092"/>
              <a:gd name="T63" fmla="*/ 1056 h 1787"/>
              <a:gd name="T64" fmla="*/ 1886 w 2092"/>
              <a:gd name="T65" fmla="*/ 1362 h 1787"/>
              <a:gd name="T66" fmla="*/ 1860 w 2092"/>
              <a:gd name="T67" fmla="*/ 1399 h 1787"/>
              <a:gd name="T68" fmla="*/ 1086 w 2092"/>
              <a:gd name="T69" fmla="*/ 1786 h 1787"/>
              <a:gd name="T70" fmla="*/ 1086 w 2092"/>
              <a:gd name="T71" fmla="*/ 1200 h 1787"/>
              <a:gd name="T72" fmla="*/ 1141 w 2092"/>
              <a:gd name="T73" fmla="*/ 1300 h 1787"/>
              <a:gd name="T74" fmla="*/ 1300 w 2092"/>
              <a:gd name="T75" fmla="*/ 1349 h 1787"/>
              <a:gd name="T76" fmla="*/ 1886 w 2092"/>
              <a:gd name="T77" fmla="*/ 1056 h 17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92" h="1787">
                <a:moveTo>
                  <a:pt x="210" y="424"/>
                </a:moveTo>
                <a:cubicBezTo>
                  <a:pt x="214" y="416"/>
                  <a:pt x="220" y="410"/>
                  <a:pt x="228" y="406"/>
                </a:cubicBezTo>
                <a:cubicBezTo>
                  <a:pt x="1025" y="8"/>
                  <a:pt x="1025" y="8"/>
                  <a:pt x="1025" y="8"/>
                </a:cubicBezTo>
                <a:cubicBezTo>
                  <a:pt x="1038" y="0"/>
                  <a:pt x="1054" y="0"/>
                  <a:pt x="1067" y="8"/>
                </a:cubicBezTo>
                <a:cubicBezTo>
                  <a:pt x="1864" y="406"/>
                  <a:pt x="1864" y="406"/>
                  <a:pt x="1864" y="406"/>
                </a:cubicBezTo>
                <a:cubicBezTo>
                  <a:pt x="1872" y="411"/>
                  <a:pt x="1879" y="418"/>
                  <a:pt x="1883" y="427"/>
                </a:cubicBezTo>
                <a:cubicBezTo>
                  <a:pt x="2082" y="824"/>
                  <a:pt x="2082" y="824"/>
                  <a:pt x="2082" y="824"/>
                </a:cubicBezTo>
                <a:cubicBezTo>
                  <a:pt x="2092" y="844"/>
                  <a:pt x="2084" y="868"/>
                  <a:pt x="2064" y="878"/>
                </a:cubicBezTo>
                <a:cubicBezTo>
                  <a:pt x="1264" y="1278"/>
                  <a:pt x="1264" y="1278"/>
                  <a:pt x="1264" y="1278"/>
                </a:cubicBezTo>
                <a:cubicBezTo>
                  <a:pt x="1245" y="1287"/>
                  <a:pt x="1218" y="1273"/>
                  <a:pt x="1211" y="1261"/>
                </a:cubicBezTo>
                <a:cubicBezTo>
                  <a:pt x="1011" y="901"/>
                  <a:pt x="1011" y="901"/>
                  <a:pt x="1011" y="901"/>
                </a:cubicBezTo>
                <a:cubicBezTo>
                  <a:pt x="1008" y="896"/>
                  <a:pt x="1006" y="890"/>
                  <a:pt x="1006" y="884"/>
                </a:cubicBezTo>
                <a:cubicBezTo>
                  <a:pt x="1006" y="1787"/>
                  <a:pt x="1006" y="1787"/>
                  <a:pt x="1006" y="1787"/>
                </a:cubicBezTo>
                <a:cubicBezTo>
                  <a:pt x="228" y="1398"/>
                  <a:pt x="228" y="1398"/>
                  <a:pt x="228" y="1398"/>
                </a:cubicBezTo>
                <a:cubicBezTo>
                  <a:pt x="214" y="1391"/>
                  <a:pt x="206" y="1376"/>
                  <a:pt x="206" y="1362"/>
                </a:cubicBezTo>
                <a:cubicBezTo>
                  <a:pt x="206" y="611"/>
                  <a:pt x="206" y="611"/>
                  <a:pt x="206" y="611"/>
                </a:cubicBezTo>
                <a:cubicBezTo>
                  <a:pt x="126" y="769"/>
                  <a:pt x="126" y="769"/>
                  <a:pt x="126" y="769"/>
                </a:cubicBezTo>
                <a:cubicBezTo>
                  <a:pt x="126" y="846"/>
                  <a:pt x="126" y="846"/>
                  <a:pt x="126" y="846"/>
                </a:cubicBezTo>
                <a:cubicBezTo>
                  <a:pt x="64" y="878"/>
                  <a:pt x="64" y="878"/>
                  <a:pt x="64" y="878"/>
                </a:cubicBezTo>
                <a:cubicBezTo>
                  <a:pt x="53" y="883"/>
                  <a:pt x="40" y="884"/>
                  <a:pt x="28" y="878"/>
                </a:cubicBezTo>
                <a:cubicBezTo>
                  <a:pt x="8" y="868"/>
                  <a:pt x="0" y="844"/>
                  <a:pt x="10" y="824"/>
                </a:cubicBezTo>
                <a:lnTo>
                  <a:pt x="210" y="424"/>
                </a:lnTo>
                <a:close/>
                <a:moveTo>
                  <a:pt x="295" y="462"/>
                </a:moveTo>
                <a:cubicBezTo>
                  <a:pt x="1046" y="838"/>
                  <a:pt x="1046" y="838"/>
                  <a:pt x="1046" y="838"/>
                </a:cubicBezTo>
                <a:cubicBezTo>
                  <a:pt x="1319" y="702"/>
                  <a:pt x="1534" y="594"/>
                  <a:pt x="1797" y="462"/>
                </a:cubicBezTo>
                <a:cubicBezTo>
                  <a:pt x="1086" y="106"/>
                  <a:pt x="1086" y="106"/>
                  <a:pt x="1086" y="106"/>
                </a:cubicBezTo>
                <a:cubicBezTo>
                  <a:pt x="1086" y="639"/>
                  <a:pt x="1086" y="639"/>
                  <a:pt x="1086" y="639"/>
                </a:cubicBezTo>
                <a:cubicBezTo>
                  <a:pt x="1046" y="659"/>
                  <a:pt x="1046" y="659"/>
                  <a:pt x="1046" y="659"/>
                </a:cubicBezTo>
                <a:cubicBezTo>
                  <a:pt x="1006" y="639"/>
                  <a:pt x="1006" y="639"/>
                  <a:pt x="1006" y="639"/>
                </a:cubicBezTo>
                <a:cubicBezTo>
                  <a:pt x="1006" y="106"/>
                  <a:pt x="1006" y="106"/>
                  <a:pt x="1006" y="106"/>
                </a:cubicBezTo>
                <a:lnTo>
                  <a:pt x="295" y="462"/>
                </a:lnTo>
                <a:close/>
                <a:moveTo>
                  <a:pt x="1886" y="1056"/>
                </a:moveTo>
                <a:cubicBezTo>
                  <a:pt x="1886" y="1362"/>
                  <a:pt x="1886" y="1362"/>
                  <a:pt x="1886" y="1362"/>
                </a:cubicBezTo>
                <a:cubicBezTo>
                  <a:pt x="1886" y="1379"/>
                  <a:pt x="1875" y="1394"/>
                  <a:pt x="1860" y="1399"/>
                </a:cubicBezTo>
                <a:cubicBezTo>
                  <a:pt x="1086" y="1786"/>
                  <a:pt x="1086" y="1786"/>
                  <a:pt x="1086" y="1786"/>
                </a:cubicBezTo>
                <a:cubicBezTo>
                  <a:pt x="1086" y="1200"/>
                  <a:pt x="1086" y="1200"/>
                  <a:pt x="1086" y="1200"/>
                </a:cubicBezTo>
                <a:cubicBezTo>
                  <a:pt x="1141" y="1300"/>
                  <a:pt x="1141" y="1300"/>
                  <a:pt x="1141" y="1300"/>
                </a:cubicBezTo>
                <a:cubicBezTo>
                  <a:pt x="1170" y="1353"/>
                  <a:pt x="1246" y="1376"/>
                  <a:pt x="1300" y="1349"/>
                </a:cubicBezTo>
                <a:lnTo>
                  <a:pt x="1886" y="105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Rechteck 79"/>
          <p:cNvSpPr/>
          <p:nvPr/>
        </p:nvSpPr>
        <p:spPr bwMode="gray">
          <a:xfrm>
            <a:off x="323580" y="4949628"/>
            <a:ext cx="7059675" cy="144044"/>
          </a:xfrm>
          <a:prstGeom prst="rect">
            <a:avLst/>
          </a:prstGeom>
          <a:noFill/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 smtClean="0">
                <a:solidFill>
                  <a:schemeClr val="bg2"/>
                </a:solidFill>
                <a:latin typeface="+mj-lt"/>
              </a:rPr>
              <a:t>© </a:t>
            </a:r>
            <a:r>
              <a:rPr lang="en-GB" sz="800" dirty="0" err="1" smtClean="0">
                <a:solidFill>
                  <a:schemeClr val="bg2"/>
                </a:solidFill>
                <a:latin typeface="+mj-lt"/>
              </a:rPr>
              <a:t>GfK</a:t>
            </a:r>
            <a:r>
              <a:rPr lang="en-GB" sz="800" dirty="0" smtClean="0">
                <a:solidFill>
                  <a:schemeClr val="bg2"/>
                </a:solidFill>
                <a:latin typeface="+mj-lt"/>
              </a:rPr>
              <a:t> 2015 </a:t>
            </a:r>
          </a:p>
        </p:txBody>
      </p:sp>
    </p:spTree>
    <p:extLst>
      <p:ext uri="{BB962C8B-B14F-4D97-AF65-F5344CB8AC3E}">
        <p14:creationId xmlns:p14="http://schemas.microsoft.com/office/powerpoint/2010/main" val="1601898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"/>
            <a:ext cx="9148763" cy="5145089"/>
          </a:xfrm>
          <a:prstGeom prst="rect">
            <a:avLst/>
          </a:prstGeom>
        </p:spPr>
      </p:pic>
      <p:sp>
        <p:nvSpPr>
          <p:cNvPr id="8" name="Rechteck 227"/>
          <p:cNvSpPr/>
          <p:nvPr/>
        </p:nvSpPr>
        <p:spPr bwMode="gray">
          <a:xfrm>
            <a:off x="1" y="-1"/>
            <a:ext cx="9148762" cy="5145088"/>
          </a:xfrm>
          <a:prstGeom prst="rect">
            <a:avLst/>
          </a:prstGeom>
          <a:solidFill>
            <a:srgbClr val="FFFFFF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77" tIns="45738" rIns="91477" bIns="457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</a:pPr>
            <a:endParaRPr lang="de-DE" sz="16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89313" y="195548"/>
            <a:ext cx="576379" cy="576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4474647" y="3739169"/>
            <a:ext cx="4743018" cy="1351175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54000"/>
                </a:schemeClr>
              </a:gs>
              <a:gs pos="43000">
                <a:schemeClr val="accent1">
                  <a:tint val="66000"/>
                  <a:satMod val="160000"/>
                  <a:alpha val="54000"/>
                </a:schemeClr>
              </a:gs>
              <a:gs pos="100000">
                <a:schemeClr val="accent1">
                  <a:tint val="23500"/>
                  <a:satMod val="160000"/>
                  <a:alpha val="54000"/>
                </a:schemeClr>
              </a:gs>
            </a:gsLst>
            <a:lin ang="5400000" scaled="0"/>
          </a:gradFill>
        </p:spPr>
        <p:txBody>
          <a:bodyPr wrap="square" lIns="91477" tIns="45738" rIns="91477" bIns="45738">
            <a:spAutoFit/>
          </a:bodyPr>
          <a:lstStyle/>
          <a:p>
            <a:pPr algn="ctr" defTabSz="489146">
              <a:lnSpc>
                <a:spcPct val="90000"/>
              </a:lnSpc>
              <a:spcAft>
                <a:spcPct val="35000"/>
              </a:spcAft>
            </a:pPr>
            <a:r>
              <a:rPr lang="en-GB" sz="2800" b="1" dirty="0" smtClean="0">
                <a:ln>
                  <a:solidFill>
                    <a:schemeClr val="tx1"/>
                  </a:solidFill>
                </a:ln>
                <a:solidFill>
                  <a:schemeClr val="tx2"/>
                </a:solidFill>
              </a:rPr>
              <a:t>Retail Category      Digital Engagement</a:t>
            </a:r>
            <a:endParaRPr lang="en-GB" sz="2800" b="1" dirty="0">
              <a:ln>
                <a:solidFill>
                  <a:schemeClr val="tx1"/>
                </a:solidFill>
              </a:ln>
              <a:solidFill>
                <a:schemeClr val="tx2"/>
              </a:solidFill>
            </a:endParaRPr>
          </a:p>
          <a:p>
            <a:pPr algn="ctr" defTabSz="489146">
              <a:lnSpc>
                <a:spcPct val="90000"/>
              </a:lnSpc>
              <a:spcAft>
                <a:spcPct val="35000"/>
              </a:spcAft>
            </a:pPr>
            <a:r>
              <a:rPr lang="en-GB" sz="24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Device Comparison</a:t>
            </a:r>
            <a:endParaRPr lang="en-GB" sz="24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03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gray">
          <a:xfrm>
            <a:off x="0" y="3508649"/>
            <a:ext cx="9148763" cy="16364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771" y="112356"/>
            <a:ext cx="8107455" cy="576283"/>
          </a:xfrm>
        </p:spPr>
        <p:txBody>
          <a:bodyPr/>
          <a:lstStyle/>
          <a:p>
            <a:r>
              <a:rPr lang="en-US" b="1" dirty="0" smtClean="0"/>
              <a:t>#5: Longest time spent on the device with the </a:t>
            </a:r>
            <a:r>
              <a:rPr lang="en-US" b="1" dirty="0" smtClean="0">
                <a:solidFill>
                  <a:srgbClr val="7030A0"/>
                </a:solidFill>
              </a:rPr>
              <a:t>biggest screen size</a:t>
            </a:r>
            <a:endParaRPr lang="en-US" dirty="0">
              <a:solidFill>
                <a:srgbClr val="7030A0"/>
              </a:solidFill>
            </a:endParaRPr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323847" y="853741"/>
            <a:ext cx="8503920" cy="2743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102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10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162" indent="-180054" algn="l" defTabSz="914675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sz="1200" dirty="0" smtClean="0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4168584187"/>
              </p:ext>
            </p:extLst>
          </p:nvPr>
        </p:nvGraphicFramePr>
        <p:xfrm>
          <a:off x="627261" y="1246914"/>
          <a:ext cx="7897091" cy="2755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4390" y="997531"/>
            <a:ext cx="8293377" cy="2493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rPr>
              <a:t>TIME SPENT (MINS : VISIT)</a:t>
            </a:r>
          </a:p>
        </p:txBody>
      </p:sp>
      <p:sp>
        <p:nvSpPr>
          <p:cNvPr id="7" name="Freeform 23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7265419" y="3993531"/>
            <a:ext cx="716776" cy="666675"/>
          </a:xfrm>
          <a:custGeom>
            <a:avLst/>
            <a:gdLst>
              <a:gd name="T0" fmla="*/ 1560 w 1920"/>
              <a:gd name="T1" fmla="*/ 1786 h 1786"/>
              <a:gd name="T2" fmla="*/ 242 w 1920"/>
              <a:gd name="T3" fmla="*/ 1677 h 1786"/>
              <a:gd name="T4" fmla="*/ 0 w 1920"/>
              <a:gd name="T5" fmla="*/ 666 h 1786"/>
              <a:gd name="T6" fmla="*/ 1920 w 1920"/>
              <a:gd name="T7" fmla="*/ 872 h 1786"/>
              <a:gd name="T8" fmla="*/ 1800 w 1920"/>
              <a:gd name="T9" fmla="*/ 854 h 1786"/>
              <a:gd name="T10" fmla="*/ 1660 w 1920"/>
              <a:gd name="T11" fmla="*/ 826 h 1786"/>
              <a:gd name="T12" fmla="*/ 1742 w 1920"/>
              <a:gd name="T13" fmla="*/ 1046 h 1786"/>
              <a:gd name="T14" fmla="*/ 120 w 1920"/>
              <a:gd name="T15" fmla="*/ 826 h 1786"/>
              <a:gd name="T16" fmla="*/ 178 w 1920"/>
              <a:gd name="T17" fmla="*/ 1046 h 1786"/>
              <a:gd name="T18" fmla="*/ 260 w 1920"/>
              <a:gd name="T19" fmla="*/ 826 h 1786"/>
              <a:gd name="T20" fmla="*/ 214 w 1920"/>
              <a:gd name="T21" fmla="*/ 1166 h 1786"/>
              <a:gd name="T22" fmla="*/ 260 w 1920"/>
              <a:gd name="T23" fmla="*/ 1166 h 1786"/>
              <a:gd name="T24" fmla="*/ 380 w 1920"/>
              <a:gd name="T25" fmla="*/ 1666 h 1786"/>
              <a:gd name="T26" fmla="*/ 580 w 1920"/>
              <a:gd name="T27" fmla="*/ 1486 h 1786"/>
              <a:gd name="T28" fmla="*/ 380 w 1920"/>
              <a:gd name="T29" fmla="*/ 1666 h 1786"/>
              <a:gd name="T30" fmla="*/ 900 w 1920"/>
              <a:gd name="T31" fmla="*/ 1666 h 1786"/>
              <a:gd name="T32" fmla="*/ 700 w 1920"/>
              <a:gd name="T33" fmla="*/ 1486 h 1786"/>
              <a:gd name="T34" fmla="*/ 1020 w 1920"/>
              <a:gd name="T35" fmla="*/ 1666 h 1786"/>
              <a:gd name="T36" fmla="*/ 1220 w 1920"/>
              <a:gd name="T37" fmla="*/ 1486 h 1786"/>
              <a:gd name="T38" fmla="*/ 1020 w 1920"/>
              <a:gd name="T39" fmla="*/ 1666 h 1786"/>
              <a:gd name="T40" fmla="*/ 1540 w 1920"/>
              <a:gd name="T41" fmla="*/ 1666 h 1786"/>
              <a:gd name="T42" fmla="*/ 1340 w 1920"/>
              <a:gd name="T43" fmla="*/ 1486 h 1786"/>
              <a:gd name="T44" fmla="*/ 1660 w 1920"/>
              <a:gd name="T45" fmla="*/ 1322 h 1786"/>
              <a:gd name="T46" fmla="*/ 1660 w 1920"/>
              <a:gd name="T47" fmla="*/ 1166 h 1786"/>
              <a:gd name="T48" fmla="*/ 1540 w 1920"/>
              <a:gd name="T49" fmla="*/ 1366 h 1786"/>
              <a:gd name="T50" fmla="*/ 1340 w 1920"/>
              <a:gd name="T51" fmla="*/ 1166 h 1786"/>
              <a:gd name="T52" fmla="*/ 1540 w 1920"/>
              <a:gd name="T53" fmla="*/ 1366 h 1786"/>
              <a:gd name="T54" fmla="*/ 1220 w 1920"/>
              <a:gd name="T55" fmla="*/ 1166 h 1786"/>
              <a:gd name="T56" fmla="*/ 1020 w 1920"/>
              <a:gd name="T57" fmla="*/ 1366 h 1786"/>
              <a:gd name="T58" fmla="*/ 900 w 1920"/>
              <a:gd name="T59" fmla="*/ 1366 h 1786"/>
              <a:gd name="T60" fmla="*/ 700 w 1920"/>
              <a:gd name="T61" fmla="*/ 1166 h 1786"/>
              <a:gd name="T62" fmla="*/ 900 w 1920"/>
              <a:gd name="T63" fmla="*/ 1366 h 1786"/>
              <a:gd name="T64" fmla="*/ 580 w 1920"/>
              <a:gd name="T65" fmla="*/ 1166 h 1786"/>
              <a:gd name="T66" fmla="*/ 380 w 1920"/>
              <a:gd name="T67" fmla="*/ 1366 h 1786"/>
              <a:gd name="T68" fmla="*/ 380 w 1920"/>
              <a:gd name="T69" fmla="*/ 1046 h 1786"/>
              <a:gd name="T70" fmla="*/ 580 w 1920"/>
              <a:gd name="T71" fmla="*/ 826 h 1786"/>
              <a:gd name="T72" fmla="*/ 380 w 1920"/>
              <a:gd name="T73" fmla="*/ 1046 h 1786"/>
              <a:gd name="T74" fmla="*/ 598 w 1920"/>
              <a:gd name="T75" fmla="*/ 24 h 1786"/>
              <a:gd name="T76" fmla="*/ 682 w 1920"/>
              <a:gd name="T77" fmla="*/ 108 h 1786"/>
              <a:gd name="T78" fmla="*/ 35 w 1920"/>
              <a:gd name="T79" fmla="*/ 586 h 1786"/>
              <a:gd name="T80" fmla="*/ 1238 w 1920"/>
              <a:gd name="T81" fmla="*/ 108 h 1786"/>
              <a:gd name="T82" fmla="*/ 1322 w 1920"/>
              <a:gd name="T83" fmla="*/ 24 h 1786"/>
              <a:gd name="T84" fmla="*/ 1715 w 1920"/>
              <a:gd name="T85" fmla="*/ 586 h 1786"/>
              <a:gd name="T86" fmla="*/ 900 w 1920"/>
              <a:gd name="T87" fmla="*/ 1046 h 1786"/>
              <a:gd name="T88" fmla="*/ 700 w 1920"/>
              <a:gd name="T89" fmla="*/ 826 h 1786"/>
              <a:gd name="T90" fmla="*/ 1020 w 1920"/>
              <a:gd name="T91" fmla="*/ 1046 h 1786"/>
              <a:gd name="T92" fmla="*/ 1220 w 1920"/>
              <a:gd name="T93" fmla="*/ 826 h 1786"/>
              <a:gd name="T94" fmla="*/ 1020 w 1920"/>
              <a:gd name="T95" fmla="*/ 1046 h 1786"/>
              <a:gd name="T96" fmla="*/ 1540 w 1920"/>
              <a:gd name="T97" fmla="*/ 1046 h 1786"/>
              <a:gd name="T98" fmla="*/ 1340 w 1920"/>
              <a:gd name="T99" fmla="*/ 826 h 17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920" h="1786">
                <a:moveTo>
                  <a:pt x="1678" y="1677"/>
                </a:moveTo>
                <a:cubicBezTo>
                  <a:pt x="1661" y="1734"/>
                  <a:pt x="1625" y="1786"/>
                  <a:pt x="1560" y="1786"/>
                </a:cubicBezTo>
                <a:cubicBezTo>
                  <a:pt x="360" y="1786"/>
                  <a:pt x="360" y="1786"/>
                  <a:pt x="360" y="1786"/>
                </a:cubicBezTo>
                <a:cubicBezTo>
                  <a:pt x="295" y="1786"/>
                  <a:pt x="259" y="1734"/>
                  <a:pt x="242" y="1677"/>
                </a:cubicBezTo>
                <a:cubicBezTo>
                  <a:pt x="0" y="872"/>
                  <a:pt x="0" y="872"/>
                  <a:pt x="0" y="872"/>
                </a:cubicBezTo>
                <a:cubicBezTo>
                  <a:pt x="0" y="666"/>
                  <a:pt x="0" y="666"/>
                  <a:pt x="0" y="666"/>
                </a:cubicBezTo>
                <a:cubicBezTo>
                  <a:pt x="1920" y="666"/>
                  <a:pt x="1920" y="666"/>
                  <a:pt x="1920" y="666"/>
                </a:cubicBezTo>
                <a:cubicBezTo>
                  <a:pt x="1920" y="872"/>
                  <a:pt x="1920" y="872"/>
                  <a:pt x="1920" y="872"/>
                </a:cubicBezTo>
                <a:lnTo>
                  <a:pt x="1678" y="1677"/>
                </a:lnTo>
                <a:close/>
                <a:moveTo>
                  <a:pt x="1800" y="854"/>
                </a:moveTo>
                <a:cubicBezTo>
                  <a:pt x="1800" y="826"/>
                  <a:pt x="1800" y="826"/>
                  <a:pt x="1800" y="826"/>
                </a:cubicBezTo>
                <a:cubicBezTo>
                  <a:pt x="1660" y="826"/>
                  <a:pt x="1660" y="826"/>
                  <a:pt x="1660" y="826"/>
                </a:cubicBezTo>
                <a:cubicBezTo>
                  <a:pt x="1660" y="1046"/>
                  <a:pt x="1660" y="1046"/>
                  <a:pt x="1660" y="1046"/>
                </a:cubicBezTo>
                <a:cubicBezTo>
                  <a:pt x="1742" y="1046"/>
                  <a:pt x="1742" y="1046"/>
                  <a:pt x="1742" y="1046"/>
                </a:cubicBezTo>
                <a:lnTo>
                  <a:pt x="1800" y="854"/>
                </a:lnTo>
                <a:close/>
                <a:moveTo>
                  <a:pt x="120" y="826"/>
                </a:moveTo>
                <a:cubicBezTo>
                  <a:pt x="120" y="854"/>
                  <a:pt x="120" y="854"/>
                  <a:pt x="120" y="854"/>
                </a:cubicBezTo>
                <a:cubicBezTo>
                  <a:pt x="178" y="1046"/>
                  <a:pt x="178" y="1046"/>
                  <a:pt x="178" y="1046"/>
                </a:cubicBezTo>
                <a:cubicBezTo>
                  <a:pt x="260" y="1046"/>
                  <a:pt x="260" y="1046"/>
                  <a:pt x="260" y="1046"/>
                </a:cubicBezTo>
                <a:cubicBezTo>
                  <a:pt x="260" y="826"/>
                  <a:pt x="260" y="826"/>
                  <a:pt x="260" y="826"/>
                </a:cubicBezTo>
                <a:lnTo>
                  <a:pt x="120" y="826"/>
                </a:lnTo>
                <a:close/>
                <a:moveTo>
                  <a:pt x="214" y="1166"/>
                </a:moveTo>
                <a:cubicBezTo>
                  <a:pt x="260" y="1322"/>
                  <a:pt x="260" y="1322"/>
                  <a:pt x="260" y="1322"/>
                </a:cubicBezTo>
                <a:cubicBezTo>
                  <a:pt x="260" y="1166"/>
                  <a:pt x="260" y="1166"/>
                  <a:pt x="260" y="1166"/>
                </a:cubicBezTo>
                <a:lnTo>
                  <a:pt x="214" y="1166"/>
                </a:lnTo>
                <a:close/>
                <a:moveTo>
                  <a:pt x="380" y="1666"/>
                </a:moveTo>
                <a:cubicBezTo>
                  <a:pt x="580" y="1666"/>
                  <a:pt x="580" y="1666"/>
                  <a:pt x="580" y="1666"/>
                </a:cubicBezTo>
                <a:cubicBezTo>
                  <a:pt x="580" y="1486"/>
                  <a:pt x="580" y="1486"/>
                  <a:pt x="580" y="1486"/>
                </a:cubicBezTo>
                <a:cubicBezTo>
                  <a:pt x="380" y="1486"/>
                  <a:pt x="380" y="1486"/>
                  <a:pt x="380" y="1486"/>
                </a:cubicBezTo>
                <a:lnTo>
                  <a:pt x="380" y="1666"/>
                </a:lnTo>
                <a:close/>
                <a:moveTo>
                  <a:pt x="700" y="1666"/>
                </a:moveTo>
                <a:cubicBezTo>
                  <a:pt x="900" y="1666"/>
                  <a:pt x="900" y="1666"/>
                  <a:pt x="900" y="1666"/>
                </a:cubicBezTo>
                <a:cubicBezTo>
                  <a:pt x="900" y="1486"/>
                  <a:pt x="900" y="1486"/>
                  <a:pt x="900" y="1486"/>
                </a:cubicBezTo>
                <a:cubicBezTo>
                  <a:pt x="700" y="1486"/>
                  <a:pt x="700" y="1486"/>
                  <a:pt x="700" y="1486"/>
                </a:cubicBezTo>
                <a:lnTo>
                  <a:pt x="700" y="1666"/>
                </a:lnTo>
                <a:close/>
                <a:moveTo>
                  <a:pt x="1020" y="1666"/>
                </a:moveTo>
                <a:cubicBezTo>
                  <a:pt x="1220" y="1666"/>
                  <a:pt x="1220" y="1666"/>
                  <a:pt x="1220" y="1666"/>
                </a:cubicBezTo>
                <a:cubicBezTo>
                  <a:pt x="1220" y="1486"/>
                  <a:pt x="1220" y="1486"/>
                  <a:pt x="1220" y="1486"/>
                </a:cubicBezTo>
                <a:cubicBezTo>
                  <a:pt x="1020" y="1486"/>
                  <a:pt x="1020" y="1486"/>
                  <a:pt x="1020" y="1486"/>
                </a:cubicBezTo>
                <a:lnTo>
                  <a:pt x="1020" y="1666"/>
                </a:lnTo>
                <a:close/>
                <a:moveTo>
                  <a:pt x="1340" y="1666"/>
                </a:moveTo>
                <a:cubicBezTo>
                  <a:pt x="1540" y="1666"/>
                  <a:pt x="1540" y="1666"/>
                  <a:pt x="1540" y="1666"/>
                </a:cubicBezTo>
                <a:cubicBezTo>
                  <a:pt x="1540" y="1486"/>
                  <a:pt x="1540" y="1486"/>
                  <a:pt x="1540" y="1486"/>
                </a:cubicBezTo>
                <a:cubicBezTo>
                  <a:pt x="1340" y="1486"/>
                  <a:pt x="1340" y="1486"/>
                  <a:pt x="1340" y="1486"/>
                </a:cubicBezTo>
                <a:lnTo>
                  <a:pt x="1340" y="1666"/>
                </a:lnTo>
                <a:close/>
                <a:moveTo>
                  <a:pt x="1660" y="1322"/>
                </a:moveTo>
                <a:cubicBezTo>
                  <a:pt x="1706" y="1166"/>
                  <a:pt x="1706" y="1166"/>
                  <a:pt x="1706" y="1166"/>
                </a:cubicBezTo>
                <a:cubicBezTo>
                  <a:pt x="1660" y="1166"/>
                  <a:pt x="1660" y="1166"/>
                  <a:pt x="1660" y="1166"/>
                </a:cubicBezTo>
                <a:lnTo>
                  <a:pt x="1660" y="1322"/>
                </a:lnTo>
                <a:close/>
                <a:moveTo>
                  <a:pt x="1540" y="1366"/>
                </a:moveTo>
                <a:cubicBezTo>
                  <a:pt x="1540" y="1166"/>
                  <a:pt x="1540" y="1166"/>
                  <a:pt x="1540" y="1166"/>
                </a:cubicBezTo>
                <a:cubicBezTo>
                  <a:pt x="1340" y="1166"/>
                  <a:pt x="1340" y="1166"/>
                  <a:pt x="1340" y="1166"/>
                </a:cubicBezTo>
                <a:cubicBezTo>
                  <a:pt x="1340" y="1366"/>
                  <a:pt x="1340" y="1366"/>
                  <a:pt x="1340" y="1366"/>
                </a:cubicBezTo>
                <a:lnTo>
                  <a:pt x="1540" y="1366"/>
                </a:lnTo>
                <a:close/>
                <a:moveTo>
                  <a:pt x="1220" y="1366"/>
                </a:moveTo>
                <a:cubicBezTo>
                  <a:pt x="1220" y="1166"/>
                  <a:pt x="1220" y="1166"/>
                  <a:pt x="1220" y="1166"/>
                </a:cubicBezTo>
                <a:cubicBezTo>
                  <a:pt x="1020" y="1166"/>
                  <a:pt x="1020" y="1166"/>
                  <a:pt x="1020" y="1166"/>
                </a:cubicBezTo>
                <a:cubicBezTo>
                  <a:pt x="1020" y="1366"/>
                  <a:pt x="1020" y="1366"/>
                  <a:pt x="1020" y="1366"/>
                </a:cubicBezTo>
                <a:lnTo>
                  <a:pt x="1220" y="1366"/>
                </a:lnTo>
                <a:close/>
                <a:moveTo>
                  <a:pt x="900" y="1366"/>
                </a:moveTo>
                <a:cubicBezTo>
                  <a:pt x="900" y="1166"/>
                  <a:pt x="900" y="1166"/>
                  <a:pt x="900" y="1166"/>
                </a:cubicBezTo>
                <a:cubicBezTo>
                  <a:pt x="700" y="1166"/>
                  <a:pt x="700" y="1166"/>
                  <a:pt x="700" y="1166"/>
                </a:cubicBezTo>
                <a:cubicBezTo>
                  <a:pt x="700" y="1366"/>
                  <a:pt x="700" y="1366"/>
                  <a:pt x="700" y="1366"/>
                </a:cubicBezTo>
                <a:lnTo>
                  <a:pt x="900" y="1366"/>
                </a:lnTo>
                <a:close/>
                <a:moveTo>
                  <a:pt x="580" y="1366"/>
                </a:moveTo>
                <a:cubicBezTo>
                  <a:pt x="580" y="1166"/>
                  <a:pt x="580" y="1166"/>
                  <a:pt x="580" y="1166"/>
                </a:cubicBezTo>
                <a:cubicBezTo>
                  <a:pt x="380" y="1166"/>
                  <a:pt x="380" y="1166"/>
                  <a:pt x="380" y="1166"/>
                </a:cubicBezTo>
                <a:cubicBezTo>
                  <a:pt x="380" y="1366"/>
                  <a:pt x="380" y="1366"/>
                  <a:pt x="380" y="1366"/>
                </a:cubicBezTo>
                <a:lnTo>
                  <a:pt x="580" y="1366"/>
                </a:lnTo>
                <a:close/>
                <a:moveTo>
                  <a:pt x="380" y="1046"/>
                </a:moveTo>
                <a:cubicBezTo>
                  <a:pt x="580" y="1046"/>
                  <a:pt x="580" y="1046"/>
                  <a:pt x="580" y="1046"/>
                </a:cubicBezTo>
                <a:cubicBezTo>
                  <a:pt x="580" y="826"/>
                  <a:pt x="580" y="826"/>
                  <a:pt x="580" y="826"/>
                </a:cubicBezTo>
                <a:cubicBezTo>
                  <a:pt x="380" y="826"/>
                  <a:pt x="380" y="826"/>
                  <a:pt x="380" y="826"/>
                </a:cubicBezTo>
                <a:lnTo>
                  <a:pt x="380" y="1046"/>
                </a:lnTo>
                <a:close/>
                <a:moveTo>
                  <a:pt x="35" y="586"/>
                </a:moveTo>
                <a:cubicBezTo>
                  <a:pt x="598" y="24"/>
                  <a:pt x="598" y="24"/>
                  <a:pt x="598" y="24"/>
                </a:cubicBezTo>
                <a:cubicBezTo>
                  <a:pt x="621" y="0"/>
                  <a:pt x="659" y="0"/>
                  <a:pt x="682" y="24"/>
                </a:cubicBezTo>
                <a:cubicBezTo>
                  <a:pt x="706" y="47"/>
                  <a:pt x="706" y="85"/>
                  <a:pt x="682" y="108"/>
                </a:cubicBezTo>
                <a:cubicBezTo>
                  <a:pt x="205" y="586"/>
                  <a:pt x="205" y="586"/>
                  <a:pt x="205" y="586"/>
                </a:cubicBezTo>
                <a:lnTo>
                  <a:pt x="35" y="586"/>
                </a:lnTo>
                <a:close/>
                <a:moveTo>
                  <a:pt x="1715" y="586"/>
                </a:moveTo>
                <a:cubicBezTo>
                  <a:pt x="1238" y="108"/>
                  <a:pt x="1238" y="108"/>
                  <a:pt x="1238" y="108"/>
                </a:cubicBezTo>
                <a:cubicBezTo>
                  <a:pt x="1214" y="85"/>
                  <a:pt x="1214" y="47"/>
                  <a:pt x="1238" y="24"/>
                </a:cubicBezTo>
                <a:cubicBezTo>
                  <a:pt x="1261" y="0"/>
                  <a:pt x="1299" y="0"/>
                  <a:pt x="1322" y="24"/>
                </a:cubicBezTo>
                <a:cubicBezTo>
                  <a:pt x="1885" y="586"/>
                  <a:pt x="1885" y="586"/>
                  <a:pt x="1885" y="586"/>
                </a:cubicBezTo>
                <a:lnTo>
                  <a:pt x="1715" y="586"/>
                </a:lnTo>
                <a:close/>
                <a:moveTo>
                  <a:pt x="700" y="1046"/>
                </a:moveTo>
                <a:cubicBezTo>
                  <a:pt x="900" y="1046"/>
                  <a:pt x="900" y="1046"/>
                  <a:pt x="900" y="1046"/>
                </a:cubicBezTo>
                <a:cubicBezTo>
                  <a:pt x="900" y="826"/>
                  <a:pt x="900" y="826"/>
                  <a:pt x="900" y="826"/>
                </a:cubicBezTo>
                <a:cubicBezTo>
                  <a:pt x="700" y="826"/>
                  <a:pt x="700" y="826"/>
                  <a:pt x="700" y="826"/>
                </a:cubicBezTo>
                <a:lnTo>
                  <a:pt x="700" y="1046"/>
                </a:lnTo>
                <a:close/>
                <a:moveTo>
                  <a:pt x="1020" y="1046"/>
                </a:moveTo>
                <a:cubicBezTo>
                  <a:pt x="1220" y="1046"/>
                  <a:pt x="1220" y="1046"/>
                  <a:pt x="1220" y="1046"/>
                </a:cubicBezTo>
                <a:cubicBezTo>
                  <a:pt x="1220" y="826"/>
                  <a:pt x="1220" y="826"/>
                  <a:pt x="1220" y="826"/>
                </a:cubicBezTo>
                <a:cubicBezTo>
                  <a:pt x="1020" y="826"/>
                  <a:pt x="1020" y="826"/>
                  <a:pt x="1020" y="826"/>
                </a:cubicBezTo>
                <a:lnTo>
                  <a:pt x="1020" y="1046"/>
                </a:lnTo>
                <a:close/>
                <a:moveTo>
                  <a:pt x="1340" y="1046"/>
                </a:moveTo>
                <a:cubicBezTo>
                  <a:pt x="1540" y="1046"/>
                  <a:pt x="1540" y="1046"/>
                  <a:pt x="1540" y="1046"/>
                </a:cubicBezTo>
                <a:cubicBezTo>
                  <a:pt x="1540" y="826"/>
                  <a:pt x="1540" y="826"/>
                  <a:pt x="1540" y="826"/>
                </a:cubicBezTo>
                <a:cubicBezTo>
                  <a:pt x="1340" y="826"/>
                  <a:pt x="1340" y="826"/>
                  <a:pt x="1340" y="826"/>
                </a:cubicBezTo>
                <a:lnTo>
                  <a:pt x="1340" y="104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8" name="Freeform 101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638349" y="3993531"/>
            <a:ext cx="741134" cy="654536"/>
          </a:xfrm>
          <a:custGeom>
            <a:avLst/>
            <a:gdLst>
              <a:gd name="T0" fmla="*/ 1220 w 2174"/>
              <a:gd name="T1" fmla="*/ 1480 h 1920"/>
              <a:gd name="T2" fmla="*/ 1437 w 2174"/>
              <a:gd name="T3" fmla="*/ 1700 h 1920"/>
              <a:gd name="T4" fmla="*/ 1220 w 2174"/>
              <a:gd name="T5" fmla="*/ 1920 h 1920"/>
              <a:gd name="T6" fmla="*/ 774 w 2174"/>
              <a:gd name="T7" fmla="*/ 1920 h 1920"/>
              <a:gd name="T8" fmla="*/ 557 w 2174"/>
              <a:gd name="T9" fmla="*/ 1700 h 1920"/>
              <a:gd name="T10" fmla="*/ 774 w 2174"/>
              <a:gd name="T11" fmla="*/ 1480 h 1920"/>
              <a:gd name="T12" fmla="*/ 1220 w 2174"/>
              <a:gd name="T13" fmla="*/ 1480 h 1920"/>
              <a:gd name="T14" fmla="*/ 196 w 2174"/>
              <a:gd name="T15" fmla="*/ 1262 h 1920"/>
              <a:gd name="T16" fmla="*/ 636 w 2174"/>
              <a:gd name="T17" fmla="*/ 1185 h 1920"/>
              <a:gd name="T18" fmla="*/ 887 w 2174"/>
              <a:gd name="T19" fmla="*/ 1364 h 1920"/>
              <a:gd name="T20" fmla="*/ 891 w 2174"/>
              <a:gd name="T21" fmla="*/ 1400 h 1920"/>
              <a:gd name="T22" fmla="*/ 774 w 2174"/>
              <a:gd name="T23" fmla="*/ 1400 h 1920"/>
              <a:gd name="T24" fmla="*/ 480 w 2174"/>
              <a:gd name="T25" fmla="*/ 1659 h 1920"/>
              <a:gd name="T26" fmla="*/ 272 w 2174"/>
              <a:gd name="T27" fmla="*/ 1696 h 1920"/>
              <a:gd name="T28" fmla="*/ 21 w 2174"/>
              <a:gd name="T29" fmla="*/ 1516 h 1920"/>
              <a:gd name="T30" fmla="*/ 196 w 2174"/>
              <a:gd name="T31" fmla="*/ 1262 h 1920"/>
              <a:gd name="T32" fmla="*/ 1974 w 2174"/>
              <a:gd name="T33" fmla="*/ 320 h 1920"/>
              <a:gd name="T34" fmla="*/ 2174 w 2174"/>
              <a:gd name="T35" fmla="*/ 520 h 1920"/>
              <a:gd name="T36" fmla="*/ 2174 w 2174"/>
              <a:gd name="T37" fmla="*/ 1521 h 1920"/>
              <a:gd name="T38" fmla="*/ 1974 w 2174"/>
              <a:gd name="T39" fmla="*/ 1720 h 1920"/>
              <a:gd name="T40" fmla="*/ 1516 w 2174"/>
              <a:gd name="T41" fmla="*/ 1720 h 1920"/>
              <a:gd name="T42" fmla="*/ 1220 w 2174"/>
              <a:gd name="T43" fmla="*/ 1400 h 1920"/>
              <a:gd name="T44" fmla="*/ 974 w 2174"/>
              <a:gd name="T45" fmla="*/ 1400 h 1920"/>
              <a:gd name="T46" fmla="*/ 974 w 2174"/>
              <a:gd name="T47" fmla="*/ 520 h 1920"/>
              <a:gd name="T48" fmla="*/ 1174 w 2174"/>
              <a:gd name="T49" fmla="*/ 320 h 1920"/>
              <a:gd name="T50" fmla="*/ 1187 w 2174"/>
              <a:gd name="T51" fmla="*/ 318 h 1920"/>
              <a:gd name="T52" fmla="*/ 1960 w 2174"/>
              <a:gd name="T53" fmla="*/ 318 h 1920"/>
              <a:gd name="T54" fmla="*/ 1974 w 2174"/>
              <a:gd name="T55" fmla="*/ 320 h 1920"/>
              <a:gd name="T56" fmla="*/ 1174 w 2174"/>
              <a:gd name="T57" fmla="*/ 680 h 1920"/>
              <a:gd name="T58" fmla="*/ 1174 w 2174"/>
              <a:gd name="T59" fmla="*/ 1280 h 1920"/>
              <a:gd name="T60" fmla="*/ 1934 w 2174"/>
              <a:gd name="T61" fmla="*/ 1280 h 1920"/>
              <a:gd name="T62" fmla="*/ 1974 w 2174"/>
              <a:gd name="T63" fmla="*/ 1280 h 1920"/>
              <a:gd name="T64" fmla="*/ 1974 w 2174"/>
              <a:gd name="T65" fmla="*/ 1240 h 1920"/>
              <a:gd name="T66" fmla="*/ 1974 w 2174"/>
              <a:gd name="T67" fmla="*/ 680 h 1920"/>
              <a:gd name="T68" fmla="*/ 1174 w 2174"/>
              <a:gd name="T69" fmla="*/ 680 h 1920"/>
              <a:gd name="T70" fmla="*/ 1894 w 2174"/>
              <a:gd name="T71" fmla="*/ 760 h 1920"/>
              <a:gd name="T72" fmla="*/ 1894 w 2174"/>
              <a:gd name="T73" fmla="*/ 1200 h 1920"/>
              <a:gd name="T74" fmla="*/ 1254 w 2174"/>
              <a:gd name="T75" fmla="*/ 1200 h 1920"/>
              <a:gd name="T76" fmla="*/ 1254 w 2174"/>
              <a:gd name="T77" fmla="*/ 760 h 1920"/>
              <a:gd name="T78" fmla="*/ 1894 w 2174"/>
              <a:gd name="T79" fmla="*/ 760 h 1920"/>
              <a:gd name="T80" fmla="*/ 1214 w 2174"/>
              <a:gd name="T81" fmla="*/ 0 h 1920"/>
              <a:gd name="T82" fmla="*/ 1934 w 2174"/>
              <a:gd name="T83" fmla="*/ 0 h 1920"/>
              <a:gd name="T84" fmla="*/ 2054 w 2174"/>
              <a:gd name="T85" fmla="*/ 120 h 1920"/>
              <a:gd name="T86" fmla="*/ 2054 w 2174"/>
              <a:gd name="T87" fmla="*/ 160 h 1920"/>
              <a:gd name="T88" fmla="*/ 1934 w 2174"/>
              <a:gd name="T89" fmla="*/ 280 h 1920"/>
              <a:gd name="T90" fmla="*/ 1214 w 2174"/>
              <a:gd name="T91" fmla="*/ 280 h 1920"/>
              <a:gd name="T92" fmla="*/ 1094 w 2174"/>
              <a:gd name="T93" fmla="*/ 160 h 1920"/>
              <a:gd name="T94" fmla="*/ 1094 w 2174"/>
              <a:gd name="T95" fmla="*/ 120 h 1920"/>
              <a:gd name="T96" fmla="*/ 1214 w 2174"/>
              <a:gd name="T97" fmla="*/ 0 h 1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174" h="1920">
                <a:moveTo>
                  <a:pt x="1220" y="1480"/>
                </a:moveTo>
                <a:cubicBezTo>
                  <a:pt x="1341" y="1480"/>
                  <a:pt x="1437" y="1580"/>
                  <a:pt x="1437" y="1700"/>
                </a:cubicBezTo>
                <a:cubicBezTo>
                  <a:pt x="1437" y="1820"/>
                  <a:pt x="1341" y="1920"/>
                  <a:pt x="1220" y="1920"/>
                </a:cubicBezTo>
                <a:cubicBezTo>
                  <a:pt x="774" y="1920"/>
                  <a:pt x="774" y="1920"/>
                  <a:pt x="774" y="1920"/>
                </a:cubicBezTo>
                <a:cubicBezTo>
                  <a:pt x="653" y="1920"/>
                  <a:pt x="557" y="1820"/>
                  <a:pt x="557" y="1700"/>
                </a:cubicBezTo>
                <a:cubicBezTo>
                  <a:pt x="557" y="1580"/>
                  <a:pt x="653" y="1480"/>
                  <a:pt x="774" y="1480"/>
                </a:cubicBezTo>
                <a:lnTo>
                  <a:pt x="1220" y="1480"/>
                </a:lnTo>
                <a:close/>
                <a:moveTo>
                  <a:pt x="196" y="1262"/>
                </a:moveTo>
                <a:cubicBezTo>
                  <a:pt x="636" y="1185"/>
                  <a:pt x="636" y="1185"/>
                  <a:pt x="636" y="1185"/>
                </a:cubicBezTo>
                <a:cubicBezTo>
                  <a:pt x="755" y="1164"/>
                  <a:pt x="866" y="1246"/>
                  <a:pt x="887" y="1364"/>
                </a:cubicBezTo>
                <a:cubicBezTo>
                  <a:pt x="890" y="1376"/>
                  <a:pt x="890" y="1388"/>
                  <a:pt x="891" y="1400"/>
                </a:cubicBezTo>
                <a:cubicBezTo>
                  <a:pt x="774" y="1400"/>
                  <a:pt x="774" y="1400"/>
                  <a:pt x="774" y="1400"/>
                </a:cubicBezTo>
                <a:cubicBezTo>
                  <a:pt x="625" y="1400"/>
                  <a:pt x="500" y="1512"/>
                  <a:pt x="480" y="1659"/>
                </a:cubicBezTo>
                <a:cubicBezTo>
                  <a:pt x="272" y="1696"/>
                  <a:pt x="272" y="1696"/>
                  <a:pt x="272" y="1696"/>
                </a:cubicBezTo>
                <a:cubicBezTo>
                  <a:pt x="153" y="1716"/>
                  <a:pt x="42" y="1634"/>
                  <a:pt x="21" y="1516"/>
                </a:cubicBezTo>
                <a:cubicBezTo>
                  <a:pt x="0" y="1398"/>
                  <a:pt x="77" y="1283"/>
                  <a:pt x="196" y="1262"/>
                </a:cubicBezTo>
                <a:close/>
                <a:moveTo>
                  <a:pt x="1974" y="320"/>
                </a:moveTo>
                <a:cubicBezTo>
                  <a:pt x="2084" y="320"/>
                  <a:pt x="2174" y="410"/>
                  <a:pt x="2174" y="520"/>
                </a:cubicBezTo>
                <a:cubicBezTo>
                  <a:pt x="2174" y="1521"/>
                  <a:pt x="2174" y="1521"/>
                  <a:pt x="2174" y="1521"/>
                </a:cubicBezTo>
                <a:cubicBezTo>
                  <a:pt x="2174" y="1631"/>
                  <a:pt x="2084" y="1720"/>
                  <a:pt x="1974" y="1720"/>
                </a:cubicBezTo>
                <a:cubicBezTo>
                  <a:pt x="1516" y="1720"/>
                  <a:pt x="1516" y="1720"/>
                  <a:pt x="1516" y="1720"/>
                </a:cubicBezTo>
                <a:cubicBezTo>
                  <a:pt x="1528" y="1549"/>
                  <a:pt x="1393" y="1400"/>
                  <a:pt x="1220" y="1400"/>
                </a:cubicBezTo>
                <a:cubicBezTo>
                  <a:pt x="974" y="1400"/>
                  <a:pt x="974" y="1400"/>
                  <a:pt x="974" y="1400"/>
                </a:cubicBezTo>
                <a:cubicBezTo>
                  <a:pt x="974" y="520"/>
                  <a:pt x="974" y="520"/>
                  <a:pt x="974" y="520"/>
                </a:cubicBezTo>
                <a:cubicBezTo>
                  <a:pt x="974" y="410"/>
                  <a:pt x="1064" y="320"/>
                  <a:pt x="1174" y="320"/>
                </a:cubicBezTo>
                <a:cubicBezTo>
                  <a:pt x="1178" y="320"/>
                  <a:pt x="1183" y="319"/>
                  <a:pt x="1187" y="318"/>
                </a:cubicBezTo>
                <a:cubicBezTo>
                  <a:pt x="1960" y="318"/>
                  <a:pt x="1960" y="318"/>
                  <a:pt x="1960" y="318"/>
                </a:cubicBezTo>
                <a:cubicBezTo>
                  <a:pt x="1964" y="319"/>
                  <a:pt x="1969" y="320"/>
                  <a:pt x="1974" y="320"/>
                </a:cubicBezTo>
                <a:close/>
                <a:moveTo>
                  <a:pt x="1174" y="680"/>
                </a:moveTo>
                <a:cubicBezTo>
                  <a:pt x="1174" y="1280"/>
                  <a:pt x="1174" y="1280"/>
                  <a:pt x="1174" y="1280"/>
                </a:cubicBezTo>
                <a:cubicBezTo>
                  <a:pt x="1934" y="1280"/>
                  <a:pt x="1934" y="1280"/>
                  <a:pt x="1934" y="1280"/>
                </a:cubicBezTo>
                <a:cubicBezTo>
                  <a:pt x="1974" y="1280"/>
                  <a:pt x="1974" y="1280"/>
                  <a:pt x="1974" y="1280"/>
                </a:cubicBezTo>
                <a:cubicBezTo>
                  <a:pt x="1974" y="1240"/>
                  <a:pt x="1974" y="1240"/>
                  <a:pt x="1974" y="1240"/>
                </a:cubicBezTo>
                <a:cubicBezTo>
                  <a:pt x="1974" y="680"/>
                  <a:pt x="1974" y="680"/>
                  <a:pt x="1974" y="680"/>
                </a:cubicBezTo>
                <a:lnTo>
                  <a:pt x="1174" y="680"/>
                </a:lnTo>
                <a:close/>
                <a:moveTo>
                  <a:pt x="1894" y="760"/>
                </a:moveTo>
                <a:cubicBezTo>
                  <a:pt x="1894" y="1200"/>
                  <a:pt x="1894" y="1200"/>
                  <a:pt x="1894" y="1200"/>
                </a:cubicBezTo>
                <a:cubicBezTo>
                  <a:pt x="1254" y="1200"/>
                  <a:pt x="1254" y="1200"/>
                  <a:pt x="1254" y="1200"/>
                </a:cubicBezTo>
                <a:cubicBezTo>
                  <a:pt x="1254" y="760"/>
                  <a:pt x="1254" y="760"/>
                  <a:pt x="1254" y="760"/>
                </a:cubicBezTo>
                <a:lnTo>
                  <a:pt x="1894" y="760"/>
                </a:lnTo>
                <a:close/>
                <a:moveTo>
                  <a:pt x="1214" y="0"/>
                </a:moveTo>
                <a:cubicBezTo>
                  <a:pt x="1934" y="0"/>
                  <a:pt x="1934" y="0"/>
                  <a:pt x="1934" y="0"/>
                </a:cubicBezTo>
                <a:cubicBezTo>
                  <a:pt x="2000" y="0"/>
                  <a:pt x="2054" y="54"/>
                  <a:pt x="2054" y="120"/>
                </a:cubicBezTo>
                <a:cubicBezTo>
                  <a:pt x="2054" y="160"/>
                  <a:pt x="2054" y="160"/>
                  <a:pt x="2054" y="160"/>
                </a:cubicBezTo>
                <a:cubicBezTo>
                  <a:pt x="2054" y="226"/>
                  <a:pt x="2000" y="280"/>
                  <a:pt x="1934" y="280"/>
                </a:cubicBezTo>
                <a:cubicBezTo>
                  <a:pt x="1214" y="280"/>
                  <a:pt x="1214" y="280"/>
                  <a:pt x="1214" y="280"/>
                </a:cubicBezTo>
                <a:cubicBezTo>
                  <a:pt x="1148" y="280"/>
                  <a:pt x="1094" y="226"/>
                  <a:pt x="1094" y="160"/>
                </a:cubicBezTo>
                <a:cubicBezTo>
                  <a:pt x="1094" y="120"/>
                  <a:pt x="1094" y="120"/>
                  <a:pt x="1094" y="120"/>
                </a:cubicBezTo>
                <a:cubicBezTo>
                  <a:pt x="1094" y="54"/>
                  <a:pt x="1148" y="0"/>
                  <a:pt x="1214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Freeform 22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4129805" y="3970393"/>
            <a:ext cx="892003" cy="658808"/>
          </a:xfrm>
          <a:custGeom>
            <a:avLst/>
            <a:gdLst>
              <a:gd name="T0" fmla="*/ 4413 w 5424"/>
              <a:gd name="T1" fmla="*/ 2610 h 4006"/>
              <a:gd name="T2" fmla="*/ 4413 w 5424"/>
              <a:gd name="T3" fmla="*/ 3628 h 4006"/>
              <a:gd name="T4" fmla="*/ 4980 w 5424"/>
              <a:gd name="T5" fmla="*/ 3628 h 4006"/>
              <a:gd name="T6" fmla="*/ 4980 w 5424"/>
              <a:gd name="T7" fmla="*/ 2421 h 4006"/>
              <a:gd name="T8" fmla="*/ 4602 w 5424"/>
              <a:gd name="T9" fmla="*/ 2799 h 4006"/>
              <a:gd name="T10" fmla="*/ 4413 w 5424"/>
              <a:gd name="T11" fmla="*/ 2610 h 4006"/>
              <a:gd name="T12" fmla="*/ 3090 w 5424"/>
              <a:gd name="T13" fmla="*/ 4006 h 4006"/>
              <a:gd name="T14" fmla="*/ 3657 w 5424"/>
              <a:gd name="T15" fmla="*/ 4006 h 4006"/>
              <a:gd name="T16" fmla="*/ 3657 w 5424"/>
              <a:gd name="T17" fmla="*/ 2494 h 4006"/>
              <a:gd name="T18" fmla="*/ 3090 w 5424"/>
              <a:gd name="T19" fmla="*/ 2494 h 4006"/>
              <a:gd name="T20" fmla="*/ 3090 w 5424"/>
              <a:gd name="T21" fmla="*/ 4006 h 4006"/>
              <a:gd name="T22" fmla="*/ 1578 w 5424"/>
              <a:gd name="T23" fmla="*/ 2305 h 4006"/>
              <a:gd name="T24" fmla="*/ 1578 w 5424"/>
              <a:gd name="T25" fmla="*/ 3250 h 4006"/>
              <a:gd name="T26" fmla="*/ 2712 w 5424"/>
              <a:gd name="T27" fmla="*/ 3250 h 4006"/>
              <a:gd name="T28" fmla="*/ 2712 w 5424"/>
              <a:gd name="T29" fmla="*/ 2305 h 4006"/>
              <a:gd name="T30" fmla="*/ 1578 w 5424"/>
              <a:gd name="T31" fmla="*/ 2305 h 4006"/>
              <a:gd name="T32" fmla="*/ 2523 w 5424"/>
              <a:gd name="T33" fmla="*/ 2494 h 4006"/>
              <a:gd name="T34" fmla="*/ 2523 w 5424"/>
              <a:gd name="T35" fmla="*/ 3061 h 4006"/>
              <a:gd name="T36" fmla="*/ 1767 w 5424"/>
              <a:gd name="T37" fmla="*/ 3061 h 4006"/>
              <a:gd name="T38" fmla="*/ 1767 w 5424"/>
              <a:gd name="T39" fmla="*/ 2494 h 4006"/>
              <a:gd name="T40" fmla="*/ 2523 w 5424"/>
              <a:gd name="T41" fmla="*/ 2494 h 4006"/>
              <a:gd name="T42" fmla="*/ 756 w 5424"/>
              <a:gd name="T43" fmla="*/ 2334 h 4006"/>
              <a:gd name="T44" fmla="*/ 2712 w 5424"/>
              <a:gd name="T45" fmla="*/ 389 h 4006"/>
              <a:gd name="T46" fmla="*/ 4668 w 5424"/>
              <a:gd name="T47" fmla="*/ 2334 h 4006"/>
              <a:gd name="T48" fmla="*/ 4535 w 5424"/>
              <a:gd name="T49" fmla="*/ 2466 h 4006"/>
              <a:gd name="T50" fmla="*/ 4224 w 5424"/>
              <a:gd name="T51" fmla="*/ 2156 h 4006"/>
              <a:gd name="T52" fmla="*/ 4224 w 5424"/>
              <a:gd name="T53" fmla="*/ 4006 h 4006"/>
              <a:gd name="T54" fmla="*/ 3846 w 5424"/>
              <a:gd name="T55" fmla="*/ 4006 h 4006"/>
              <a:gd name="T56" fmla="*/ 3846 w 5424"/>
              <a:gd name="T57" fmla="*/ 2305 h 4006"/>
              <a:gd name="T58" fmla="*/ 2901 w 5424"/>
              <a:gd name="T59" fmla="*/ 2305 h 4006"/>
              <a:gd name="T60" fmla="*/ 2901 w 5424"/>
              <a:gd name="T61" fmla="*/ 4006 h 4006"/>
              <a:gd name="T62" fmla="*/ 1200 w 5424"/>
              <a:gd name="T63" fmla="*/ 4006 h 4006"/>
              <a:gd name="T64" fmla="*/ 1200 w 5424"/>
              <a:gd name="T65" fmla="*/ 2156 h 4006"/>
              <a:gd name="T66" fmla="*/ 889 w 5424"/>
              <a:gd name="T67" fmla="*/ 2466 h 4006"/>
              <a:gd name="T68" fmla="*/ 756 w 5424"/>
              <a:gd name="T69" fmla="*/ 2334 h 4006"/>
              <a:gd name="T70" fmla="*/ 4980 w 5424"/>
              <a:gd name="T71" fmla="*/ 2376 h 4006"/>
              <a:gd name="T72" fmla="*/ 4980 w 5424"/>
              <a:gd name="T73" fmla="*/ 1871 h 4006"/>
              <a:gd name="T74" fmla="*/ 5291 w 5424"/>
              <a:gd name="T75" fmla="*/ 2182 h 4006"/>
              <a:gd name="T76" fmla="*/ 5424 w 5424"/>
              <a:gd name="T77" fmla="*/ 2050 h 4006"/>
              <a:gd name="T78" fmla="*/ 3562 w 5424"/>
              <a:gd name="T79" fmla="*/ 189 h 4006"/>
              <a:gd name="T80" fmla="*/ 3170 w 5424"/>
              <a:gd name="T81" fmla="*/ 578 h 4006"/>
              <a:gd name="T82" fmla="*/ 4980 w 5424"/>
              <a:gd name="T83" fmla="*/ 2376 h 4006"/>
              <a:gd name="T84" fmla="*/ 1011 w 5424"/>
              <a:gd name="T85" fmla="*/ 3250 h 4006"/>
              <a:gd name="T86" fmla="*/ 445 w 5424"/>
              <a:gd name="T87" fmla="*/ 3250 h 4006"/>
              <a:gd name="T88" fmla="*/ 445 w 5424"/>
              <a:gd name="T89" fmla="*/ 2421 h 4006"/>
              <a:gd name="T90" fmla="*/ 822 w 5424"/>
              <a:gd name="T91" fmla="*/ 2799 h 4006"/>
              <a:gd name="T92" fmla="*/ 1011 w 5424"/>
              <a:gd name="T93" fmla="*/ 2610 h 4006"/>
              <a:gd name="T94" fmla="*/ 1011 w 5424"/>
              <a:gd name="T95" fmla="*/ 3250 h 4006"/>
              <a:gd name="T96" fmla="*/ 445 w 5424"/>
              <a:gd name="T97" fmla="*/ 2376 h 4006"/>
              <a:gd name="T98" fmla="*/ 445 w 5424"/>
              <a:gd name="T99" fmla="*/ 1587 h 4006"/>
              <a:gd name="T100" fmla="*/ 133 w 5424"/>
              <a:gd name="T101" fmla="*/ 1899 h 4006"/>
              <a:gd name="T102" fmla="*/ 0 w 5424"/>
              <a:gd name="T103" fmla="*/ 1767 h 4006"/>
              <a:gd name="T104" fmla="*/ 1767 w 5424"/>
              <a:gd name="T105" fmla="*/ 0 h 4006"/>
              <a:gd name="T106" fmla="*/ 2301 w 5424"/>
              <a:gd name="T107" fmla="*/ 531 h 4006"/>
              <a:gd name="T108" fmla="*/ 445 w 5424"/>
              <a:gd name="T109" fmla="*/ 2376 h 40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424" h="4006">
                <a:moveTo>
                  <a:pt x="4413" y="2610"/>
                </a:moveTo>
                <a:lnTo>
                  <a:pt x="4413" y="3628"/>
                </a:lnTo>
                <a:lnTo>
                  <a:pt x="4980" y="3628"/>
                </a:lnTo>
                <a:lnTo>
                  <a:pt x="4980" y="2421"/>
                </a:lnTo>
                <a:lnTo>
                  <a:pt x="4602" y="2799"/>
                </a:lnTo>
                <a:lnTo>
                  <a:pt x="4413" y="2610"/>
                </a:lnTo>
                <a:close/>
                <a:moveTo>
                  <a:pt x="3090" y="4006"/>
                </a:moveTo>
                <a:lnTo>
                  <a:pt x="3657" y="4006"/>
                </a:lnTo>
                <a:lnTo>
                  <a:pt x="3657" y="2494"/>
                </a:lnTo>
                <a:lnTo>
                  <a:pt x="3090" y="2494"/>
                </a:lnTo>
                <a:lnTo>
                  <a:pt x="3090" y="4006"/>
                </a:lnTo>
                <a:close/>
                <a:moveTo>
                  <a:pt x="1578" y="2305"/>
                </a:moveTo>
                <a:lnTo>
                  <a:pt x="1578" y="3250"/>
                </a:lnTo>
                <a:lnTo>
                  <a:pt x="2712" y="3250"/>
                </a:lnTo>
                <a:lnTo>
                  <a:pt x="2712" y="2305"/>
                </a:lnTo>
                <a:lnTo>
                  <a:pt x="1578" y="2305"/>
                </a:lnTo>
                <a:close/>
                <a:moveTo>
                  <a:pt x="2523" y="2494"/>
                </a:moveTo>
                <a:lnTo>
                  <a:pt x="2523" y="3061"/>
                </a:lnTo>
                <a:lnTo>
                  <a:pt x="1767" y="3061"/>
                </a:lnTo>
                <a:lnTo>
                  <a:pt x="1767" y="2494"/>
                </a:lnTo>
                <a:lnTo>
                  <a:pt x="2523" y="2494"/>
                </a:lnTo>
                <a:close/>
                <a:moveTo>
                  <a:pt x="756" y="2334"/>
                </a:moveTo>
                <a:lnTo>
                  <a:pt x="2712" y="389"/>
                </a:lnTo>
                <a:lnTo>
                  <a:pt x="4668" y="2334"/>
                </a:lnTo>
                <a:lnTo>
                  <a:pt x="4535" y="2466"/>
                </a:lnTo>
                <a:lnTo>
                  <a:pt x="4224" y="2156"/>
                </a:lnTo>
                <a:lnTo>
                  <a:pt x="4224" y="4006"/>
                </a:lnTo>
                <a:lnTo>
                  <a:pt x="3846" y="4006"/>
                </a:lnTo>
                <a:lnTo>
                  <a:pt x="3846" y="2305"/>
                </a:lnTo>
                <a:lnTo>
                  <a:pt x="2901" y="2305"/>
                </a:lnTo>
                <a:lnTo>
                  <a:pt x="2901" y="4006"/>
                </a:lnTo>
                <a:lnTo>
                  <a:pt x="1200" y="4006"/>
                </a:lnTo>
                <a:lnTo>
                  <a:pt x="1200" y="2156"/>
                </a:lnTo>
                <a:lnTo>
                  <a:pt x="889" y="2466"/>
                </a:lnTo>
                <a:lnTo>
                  <a:pt x="756" y="2334"/>
                </a:lnTo>
                <a:close/>
                <a:moveTo>
                  <a:pt x="4980" y="2376"/>
                </a:moveTo>
                <a:lnTo>
                  <a:pt x="4980" y="1871"/>
                </a:lnTo>
                <a:lnTo>
                  <a:pt x="5291" y="2182"/>
                </a:lnTo>
                <a:lnTo>
                  <a:pt x="5424" y="2050"/>
                </a:lnTo>
                <a:lnTo>
                  <a:pt x="3562" y="189"/>
                </a:lnTo>
                <a:lnTo>
                  <a:pt x="3170" y="578"/>
                </a:lnTo>
                <a:lnTo>
                  <a:pt x="4980" y="2376"/>
                </a:lnTo>
                <a:close/>
                <a:moveTo>
                  <a:pt x="1011" y="3250"/>
                </a:moveTo>
                <a:lnTo>
                  <a:pt x="445" y="3250"/>
                </a:lnTo>
                <a:lnTo>
                  <a:pt x="445" y="2421"/>
                </a:lnTo>
                <a:lnTo>
                  <a:pt x="822" y="2799"/>
                </a:lnTo>
                <a:lnTo>
                  <a:pt x="1011" y="2610"/>
                </a:lnTo>
                <a:lnTo>
                  <a:pt x="1011" y="3250"/>
                </a:lnTo>
                <a:close/>
                <a:moveTo>
                  <a:pt x="445" y="2376"/>
                </a:moveTo>
                <a:lnTo>
                  <a:pt x="445" y="1587"/>
                </a:lnTo>
                <a:lnTo>
                  <a:pt x="133" y="1899"/>
                </a:lnTo>
                <a:lnTo>
                  <a:pt x="0" y="1767"/>
                </a:lnTo>
                <a:lnTo>
                  <a:pt x="1767" y="0"/>
                </a:lnTo>
                <a:lnTo>
                  <a:pt x="2301" y="531"/>
                </a:lnTo>
                <a:lnTo>
                  <a:pt x="445" y="237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0" name="Freeform 31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1293850" y="3993531"/>
            <a:ext cx="415040" cy="635670"/>
          </a:xfrm>
          <a:custGeom>
            <a:avLst/>
            <a:gdLst>
              <a:gd name="T0" fmla="*/ 400 w 1280"/>
              <a:gd name="T1" fmla="*/ 0 h 1960"/>
              <a:gd name="T2" fmla="*/ 880 w 1280"/>
              <a:gd name="T3" fmla="*/ 0 h 1960"/>
              <a:gd name="T4" fmla="*/ 1280 w 1280"/>
              <a:gd name="T5" fmla="*/ 400 h 1960"/>
              <a:gd name="T6" fmla="*/ 1280 w 1280"/>
              <a:gd name="T7" fmla="*/ 1320 h 1960"/>
              <a:gd name="T8" fmla="*/ 640 w 1280"/>
              <a:gd name="T9" fmla="*/ 1960 h 1960"/>
              <a:gd name="T10" fmla="*/ 0 w 1280"/>
              <a:gd name="T11" fmla="*/ 1320 h 1960"/>
              <a:gd name="T12" fmla="*/ 0 w 1280"/>
              <a:gd name="T13" fmla="*/ 400 h 1960"/>
              <a:gd name="T14" fmla="*/ 400 w 1280"/>
              <a:gd name="T15" fmla="*/ 0 h 1960"/>
              <a:gd name="T16" fmla="*/ 640 w 1280"/>
              <a:gd name="T17" fmla="*/ 160 h 1960"/>
              <a:gd name="T18" fmla="*/ 560 w 1280"/>
              <a:gd name="T19" fmla="*/ 240 h 1960"/>
              <a:gd name="T20" fmla="*/ 560 w 1280"/>
              <a:gd name="T21" fmla="*/ 480 h 1960"/>
              <a:gd name="T22" fmla="*/ 640 w 1280"/>
              <a:gd name="T23" fmla="*/ 560 h 1960"/>
              <a:gd name="T24" fmla="*/ 720 w 1280"/>
              <a:gd name="T25" fmla="*/ 480 h 1960"/>
              <a:gd name="T26" fmla="*/ 720 w 1280"/>
              <a:gd name="T27" fmla="*/ 240 h 1960"/>
              <a:gd name="T28" fmla="*/ 640 w 1280"/>
              <a:gd name="T29" fmla="*/ 160 h 1960"/>
              <a:gd name="T30" fmla="*/ 80 w 1280"/>
              <a:gd name="T31" fmla="*/ 640 h 1960"/>
              <a:gd name="T32" fmla="*/ 80 w 1280"/>
              <a:gd name="T33" fmla="*/ 720 h 1960"/>
              <a:gd name="T34" fmla="*/ 1200 w 1280"/>
              <a:gd name="T35" fmla="*/ 720 h 1960"/>
              <a:gd name="T36" fmla="*/ 1200 w 1280"/>
              <a:gd name="T37" fmla="*/ 640 h 1960"/>
              <a:gd name="T38" fmla="*/ 80 w 1280"/>
              <a:gd name="T39" fmla="*/ 640 h 1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80" h="1960">
                <a:moveTo>
                  <a:pt x="400" y="0"/>
                </a:moveTo>
                <a:cubicBezTo>
                  <a:pt x="880" y="0"/>
                  <a:pt x="880" y="0"/>
                  <a:pt x="880" y="0"/>
                </a:cubicBezTo>
                <a:cubicBezTo>
                  <a:pt x="1101" y="0"/>
                  <a:pt x="1280" y="179"/>
                  <a:pt x="1280" y="400"/>
                </a:cubicBezTo>
                <a:cubicBezTo>
                  <a:pt x="1280" y="1320"/>
                  <a:pt x="1280" y="1320"/>
                  <a:pt x="1280" y="1320"/>
                </a:cubicBezTo>
                <a:cubicBezTo>
                  <a:pt x="1280" y="1674"/>
                  <a:pt x="994" y="1960"/>
                  <a:pt x="640" y="1960"/>
                </a:cubicBezTo>
                <a:cubicBezTo>
                  <a:pt x="286" y="1960"/>
                  <a:pt x="0" y="1674"/>
                  <a:pt x="0" y="1320"/>
                </a:cubicBezTo>
                <a:cubicBezTo>
                  <a:pt x="0" y="400"/>
                  <a:pt x="0" y="400"/>
                  <a:pt x="0" y="400"/>
                </a:cubicBezTo>
                <a:cubicBezTo>
                  <a:pt x="0" y="179"/>
                  <a:pt x="179" y="0"/>
                  <a:pt x="400" y="0"/>
                </a:cubicBezTo>
                <a:close/>
                <a:moveTo>
                  <a:pt x="640" y="160"/>
                </a:moveTo>
                <a:cubicBezTo>
                  <a:pt x="596" y="160"/>
                  <a:pt x="560" y="196"/>
                  <a:pt x="560" y="240"/>
                </a:cubicBezTo>
                <a:cubicBezTo>
                  <a:pt x="560" y="480"/>
                  <a:pt x="560" y="480"/>
                  <a:pt x="560" y="480"/>
                </a:cubicBezTo>
                <a:cubicBezTo>
                  <a:pt x="560" y="524"/>
                  <a:pt x="596" y="560"/>
                  <a:pt x="640" y="560"/>
                </a:cubicBezTo>
                <a:cubicBezTo>
                  <a:pt x="684" y="560"/>
                  <a:pt x="720" y="524"/>
                  <a:pt x="720" y="480"/>
                </a:cubicBezTo>
                <a:cubicBezTo>
                  <a:pt x="720" y="240"/>
                  <a:pt x="720" y="240"/>
                  <a:pt x="720" y="240"/>
                </a:cubicBezTo>
                <a:cubicBezTo>
                  <a:pt x="720" y="196"/>
                  <a:pt x="684" y="160"/>
                  <a:pt x="640" y="160"/>
                </a:cubicBezTo>
                <a:close/>
                <a:moveTo>
                  <a:pt x="80" y="640"/>
                </a:moveTo>
                <a:cubicBezTo>
                  <a:pt x="80" y="720"/>
                  <a:pt x="80" y="720"/>
                  <a:pt x="80" y="720"/>
                </a:cubicBezTo>
                <a:cubicBezTo>
                  <a:pt x="1200" y="720"/>
                  <a:pt x="1200" y="720"/>
                  <a:pt x="1200" y="720"/>
                </a:cubicBezTo>
                <a:cubicBezTo>
                  <a:pt x="1200" y="640"/>
                  <a:pt x="1200" y="640"/>
                  <a:pt x="1200" y="640"/>
                </a:cubicBezTo>
                <a:cubicBezTo>
                  <a:pt x="827" y="640"/>
                  <a:pt x="453" y="640"/>
                  <a:pt x="80" y="64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1" name="Freeform 187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2661549" y="3956342"/>
            <a:ext cx="809687" cy="691725"/>
          </a:xfrm>
          <a:custGeom>
            <a:avLst/>
            <a:gdLst>
              <a:gd name="T0" fmla="*/ 210 w 2092"/>
              <a:gd name="T1" fmla="*/ 424 h 1787"/>
              <a:gd name="T2" fmla="*/ 228 w 2092"/>
              <a:gd name="T3" fmla="*/ 406 h 1787"/>
              <a:gd name="T4" fmla="*/ 1025 w 2092"/>
              <a:gd name="T5" fmla="*/ 8 h 1787"/>
              <a:gd name="T6" fmla="*/ 1067 w 2092"/>
              <a:gd name="T7" fmla="*/ 8 h 1787"/>
              <a:gd name="T8" fmla="*/ 1864 w 2092"/>
              <a:gd name="T9" fmla="*/ 406 h 1787"/>
              <a:gd name="T10" fmla="*/ 1883 w 2092"/>
              <a:gd name="T11" fmla="*/ 427 h 1787"/>
              <a:gd name="T12" fmla="*/ 2082 w 2092"/>
              <a:gd name="T13" fmla="*/ 824 h 1787"/>
              <a:gd name="T14" fmla="*/ 2064 w 2092"/>
              <a:gd name="T15" fmla="*/ 878 h 1787"/>
              <a:gd name="T16" fmla="*/ 1264 w 2092"/>
              <a:gd name="T17" fmla="*/ 1278 h 1787"/>
              <a:gd name="T18" fmla="*/ 1211 w 2092"/>
              <a:gd name="T19" fmla="*/ 1261 h 1787"/>
              <a:gd name="T20" fmla="*/ 1011 w 2092"/>
              <a:gd name="T21" fmla="*/ 901 h 1787"/>
              <a:gd name="T22" fmla="*/ 1006 w 2092"/>
              <a:gd name="T23" fmla="*/ 884 h 1787"/>
              <a:gd name="T24" fmla="*/ 1006 w 2092"/>
              <a:gd name="T25" fmla="*/ 1787 h 1787"/>
              <a:gd name="T26" fmla="*/ 228 w 2092"/>
              <a:gd name="T27" fmla="*/ 1398 h 1787"/>
              <a:gd name="T28" fmla="*/ 206 w 2092"/>
              <a:gd name="T29" fmla="*/ 1362 h 1787"/>
              <a:gd name="T30" fmla="*/ 206 w 2092"/>
              <a:gd name="T31" fmla="*/ 611 h 1787"/>
              <a:gd name="T32" fmla="*/ 126 w 2092"/>
              <a:gd name="T33" fmla="*/ 769 h 1787"/>
              <a:gd name="T34" fmla="*/ 126 w 2092"/>
              <a:gd name="T35" fmla="*/ 846 h 1787"/>
              <a:gd name="T36" fmla="*/ 64 w 2092"/>
              <a:gd name="T37" fmla="*/ 878 h 1787"/>
              <a:gd name="T38" fmla="*/ 28 w 2092"/>
              <a:gd name="T39" fmla="*/ 878 h 1787"/>
              <a:gd name="T40" fmla="*/ 10 w 2092"/>
              <a:gd name="T41" fmla="*/ 824 h 1787"/>
              <a:gd name="T42" fmla="*/ 210 w 2092"/>
              <a:gd name="T43" fmla="*/ 424 h 1787"/>
              <a:gd name="T44" fmla="*/ 295 w 2092"/>
              <a:gd name="T45" fmla="*/ 462 h 1787"/>
              <a:gd name="T46" fmla="*/ 1046 w 2092"/>
              <a:gd name="T47" fmla="*/ 838 h 1787"/>
              <a:gd name="T48" fmla="*/ 1797 w 2092"/>
              <a:gd name="T49" fmla="*/ 462 h 1787"/>
              <a:gd name="T50" fmla="*/ 1086 w 2092"/>
              <a:gd name="T51" fmla="*/ 106 h 1787"/>
              <a:gd name="T52" fmla="*/ 1086 w 2092"/>
              <a:gd name="T53" fmla="*/ 639 h 1787"/>
              <a:gd name="T54" fmla="*/ 1046 w 2092"/>
              <a:gd name="T55" fmla="*/ 659 h 1787"/>
              <a:gd name="T56" fmla="*/ 1006 w 2092"/>
              <a:gd name="T57" fmla="*/ 639 h 1787"/>
              <a:gd name="T58" fmla="*/ 1006 w 2092"/>
              <a:gd name="T59" fmla="*/ 106 h 1787"/>
              <a:gd name="T60" fmla="*/ 295 w 2092"/>
              <a:gd name="T61" fmla="*/ 462 h 1787"/>
              <a:gd name="T62" fmla="*/ 1886 w 2092"/>
              <a:gd name="T63" fmla="*/ 1056 h 1787"/>
              <a:gd name="T64" fmla="*/ 1886 w 2092"/>
              <a:gd name="T65" fmla="*/ 1362 h 1787"/>
              <a:gd name="T66" fmla="*/ 1860 w 2092"/>
              <a:gd name="T67" fmla="*/ 1399 h 1787"/>
              <a:gd name="T68" fmla="*/ 1086 w 2092"/>
              <a:gd name="T69" fmla="*/ 1786 h 1787"/>
              <a:gd name="T70" fmla="*/ 1086 w 2092"/>
              <a:gd name="T71" fmla="*/ 1200 h 1787"/>
              <a:gd name="T72" fmla="*/ 1141 w 2092"/>
              <a:gd name="T73" fmla="*/ 1300 h 1787"/>
              <a:gd name="T74" fmla="*/ 1300 w 2092"/>
              <a:gd name="T75" fmla="*/ 1349 h 1787"/>
              <a:gd name="T76" fmla="*/ 1886 w 2092"/>
              <a:gd name="T77" fmla="*/ 1056 h 17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92" h="1787">
                <a:moveTo>
                  <a:pt x="210" y="424"/>
                </a:moveTo>
                <a:cubicBezTo>
                  <a:pt x="214" y="416"/>
                  <a:pt x="220" y="410"/>
                  <a:pt x="228" y="406"/>
                </a:cubicBezTo>
                <a:cubicBezTo>
                  <a:pt x="1025" y="8"/>
                  <a:pt x="1025" y="8"/>
                  <a:pt x="1025" y="8"/>
                </a:cubicBezTo>
                <a:cubicBezTo>
                  <a:pt x="1038" y="0"/>
                  <a:pt x="1054" y="0"/>
                  <a:pt x="1067" y="8"/>
                </a:cubicBezTo>
                <a:cubicBezTo>
                  <a:pt x="1864" y="406"/>
                  <a:pt x="1864" y="406"/>
                  <a:pt x="1864" y="406"/>
                </a:cubicBezTo>
                <a:cubicBezTo>
                  <a:pt x="1872" y="411"/>
                  <a:pt x="1879" y="418"/>
                  <a:pt x="1883" y="427"/>
                </a:cubicBezTo>
                <a:cubicBezTo>
                  <a:pt x="2082" y="824"/>
                  <a:pt x="2082" y="824"/>
                  <a:pt x="2082" y="824"/>
                </a:cubicBezTo>
                <a:cubicBezTo>
                  <a:pt x="2092" y="844"/>
                  <a:pt x="2084" y="868"/>
                  <a:pt x="2064" y="878"/>
                </a:cubicBezTo>
                <a:cubicBezTo>
                  <a:pt x="1264" y="1278"/>
                  <a:pt x="1264" y="1278"/>
                  <a:pt x="1264" y="1278"/>
                </a:cubicBezTo>
                <a:cubicBezTo>
                  <a:pt x="1245" y="1287"/>
                  <a:pt x="1218" y="1273"/>
                  <a:pt x="1211" y="1261"/>
                </a:cubicBezTo>
                <a:cubicBezTo>
                  <a:pt x="1011" y="901"/>
                  <a:pt x="1011" y="901"/>
                  <a:pt x="1011" y="901"/>
                </a:cubicBezTo>
                <a:cubicBezTo>
                  <a:pt x="1008" y="896"/>
                  <a:pt x="1006" y="890"/>
                  <a:pt x="1006" y="884"/>
                </a:cubicBezTo>
                <a:cubicBezTo>
                  <a:pt x="1006" y="1787"/>
                  <a:pt x="1006" y="1787"/>
                  <a:pt x="1006" y="1787"/>
                </a:cubicBezTo>
                <a:cubicBezTo>
                  <a:pt x="228" y="1398"/>
                  <a:pt x="228" y="1398"/>
                  <a:pt x="228" y="1398"/>
                </a:cubicBezTo>
                <a:cubicBezTo>
                  <a:pt x="214" y="1391"/>
                  <a:pt x="206" y="1376"/>
                  <a:pt x="206" y="1362"/>
                </a:cubicBezTo>
                <a:cubicBezTo>
                  <a:pt x="206" y="611"/>
                  <a:pt x="206" y="611"/>
                  <a:pt x="206" y="611"/>
                </a:cubicBezTo>
                <a:cubicBezTo>
                  <a:pt x="126" y="769"/>
                  <a:pt x="126" y="769"/>
                  <a:pt x="126" y="769"/>
                </a:cubicBezTo>
                <a:cubicBezTo>
                  <a:pt x="126" y="846"/>
                  <a:pt x="126" y="846"/>
                  <a:pt x="126" y="846"/>
                </a:cubicBezTo>
                <a:cubicBezTo>
                  <a:pt x="64" y="878"/>
                  <a:pt x="64" y="878"/>
                  <a:pt x="64" y="878"/>
                </a:cubicBezTo>
                <a:cubicBezTo>
                  <a:pt x="53" y="883"/>
                  <a:pt x="40" y="884"/>
                  <a:pt x="28" y="878"/>
                </a:cubicBezTo>
                <a:cubicBezTo>
                  <a:pt x="8" y="868"/>
                  <a:pt x="0" y="844"/>
                  <a:pt x="10" y="824"/>
                </a:cubicBezTo>
                <a:lnTo>
                  <a:pt x="210" y="424"/>
                </a:lnTo>
                <a:close/>
                <a:moveTo>
                  <a:pt x="295" y="462"/>
                </a:moveTo>
                <a:cubicBezTo>
                  <a:pt x="1046" y="838"/>
                  <a:pt x="1046" y="838"/>
                  <a:pt x="1046" y="838"/>
                </a:cubicBezTo>
                <a:cubicBezTo>
                  <a:pt x="1319" y="702"/>
                  <a:pt x="1534" y="594"/>
                  <a:pt x="1797" y="462"/>
                </a:cubicBezTo>
                <a:cubicBezTo>
                  <a:pt x="1086" y="106"/>
                  <a:pt x="1086" y="106"/>
                  <a:pt x="1086" y="106"/>
                </a:cubicBezTo>
                <a:cubicBezTo>
                  <a:pt x="1086" y="639"/>
                  <a:pt x="1086" y="639"/>
                  <a:pt x="1086" y="639"/>
                </a:cubicBezTo>
                <a:cubicBezTo>
                  <a:pt x="1046" y="659"/>
                  <a:pt x="1046" y="659"/>
                  <a:pt x="1046" y="659"/>
                </a:cubicBezTo>
                <a:cubicBezTo>
                  <a:pt x="1006" y="639"/>
                  <a:pt x="1006" y="639"/>
                  <a:pt x="1006" y="639"/>
                </a:cubicBezTo>
                <a:cubicBezTo>
                  <a:pt x="1006" y="106"/>
                  <a:pt x="1006" y="106"/>
                  <a:pt x="1006" y="106"/>
                </a:cubicBezTo>
                <a:lnTo>
                  <a:pt x="295" y="462"/>
                </a:lnTo>
                <a:close/>
                <a:moveTo>
                  <a:pt x="1886" y="1056"/>
                </a:moveTo>
                <a:cubicBezTo>
                  <a:pt x="1886" y="1362"/>
                  <a:pt x="1886" y="1362"/>
                  <a:pt x="1886" y="1362"/>
                </a:cubicBezTo>
                <a:cubicBezTo>
                  <a:pt x="1886" y="1379"/>
                  <a:pt x="1875" y="1394"/>
                  <a:pt x="1860" y="1399"/>
                </a:cubicBezTo>
                <a:cubicBezTo>
                  <a:pt x="1086" y="1786"/>
                  <a:pt x="1086" y="1786"/>
                  <a:pt x="1086" y="1786"/>
                </a:cubicBezTo>
                <a:cubicBezTo>
                  <a:pt x="1086" y="1200"/>
                  <a:pt x="1086" y="1200"/>
                  <a:pt x="1086" y="1200"/>
                </a:cubicBezTo>
                <a:cubicBezTo>
                  <a:pt x="1141" y="1300"/>
                  <a:pt x="1141" y="1300"/>
                  <a:pt x="1141" y="1300"/>
                </a:cubicBezTo>
                <a:cubicBezTo>
                  <a:pt x="1170" y="1353"/>
                  <a:pt x="1246" y="1376"/>
                  <a:pt x="1300" y="1349"/>
                </a:cubicBezTo>
                <a:lnTo>
                  <a:pt x="1886" y="105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Rechteck 79"/>
          <p:cNvSpPr/>
          <p:nvPr/>
        </p:nvSpPr>
        <p:spPr bwMode="gray">
          <a:xfrm>
            <a:off x="323580" y="4949628"/>
            <a:ext cx="7059675" cy="144044"/>
          </a:xfrm>
          <a:prstGeom prst="rect">
            <a:avLst/>
          </a:prstGeom>
          <a:noFill/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 smtClean="0">
                <a:solidFill>
                  <a:schemeClr val="bg2"/>
                </a:solidFill>
                <a:latin typeface="+mj-lt"/>
              </a:rPr>
              <a:t>© </a:t>
            </a:r>
            <a:r>
              <a:rPr lang="en-GB" sz="800" dirty="0" err="1" smtClean="0">
                <a:solidFill>
                  <a:schemeClr val="bg2"/>
                </a:solidFill>
                <a:latin typeface="+mj-lt"/>
              </a:rPr>
              <a:t>GfK</a:t>
            </a:r>
            <a:r>
              <a:rPr lang="en-GB" sz="800" dirty="0" smtClean="0">
                <a:solidFill>
                  <a:schemeClr val="bg2"/>
                </a:solidFill>
                <a:latin typeface="+mj-lt"/>
              </a:rPr>
              <a:t> 2015 </a:t>
            </a:r>
          </a:p>
        </p:txBody>
      </p:sp>
      <p:sp>
        <p:nvSpPr>
          <p:cNvPr id="13" name="Freeform 102"/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3954693" y="1292511"/>
            <a:ext cx="381309" cy="299584"/>
          </a:xfrm>
          <a:custGeom>
            <a:avLst/>
            <a:gdLst>
              <a:gd name="T0" fmla="*/ 2240 w 2240"/>
              <a:gd name="T1" fmla="*/ 1360 h 1760"/>
              <a:gd name="T2" fmla="*/ 2240 w 2240"/>
              <a:gd name="T3" fmla="*/ 1560 h 1760"/>
              <a:gd name="T4" fmla="*/ 2040 w 2240"/>
              <a:gd name="T5" fmla="*/ 1760 h 1760"/>
              <a:gd name="T6" fmla="*/ 200 w 2240"/>
              <a:gd name="T7" fmla="*/ 1760 h 1760"/>
              <a:gd name="T8" fmla="*/ 0 w 2240"/>
              <a:gd name="T9" fmla="*/ 1560 h 1760"/>
              <a:gd name="T10" fmla="*/ 0 w 2240"/>
              <a:gd name="T11" fmla="*/ 1360 h 1760"/>
              <a:gd name="T12" fmla="*/ 2240 w 2240"/>
              <a:gd name="T13" fmla="*/ 1360 h 1760"/>
              <a:gd name="T14" fmla="*/ 160 w 2240"/>
              <a:gd name="T15" fmla="*/ 1280 h 1760"/>
              <a:gd name="T16" fmla="*/ 160 w 2240"/>
              <a:gd name="T17" fmla="*/ 120 h 1760"/>
              <a:gd name="T18" fmla="*/ 280 w 2240"/>
              <a:gd name="T19" fmla="*/ 0 h 1760"/>
              <a:gd name="T20" fmla="*/ 1960 w 2240"/>
              <a:gd name="T21" fmla="*/ 0 h 1760"/>
              <a:gd name="T22" fmla="*/ 2080 w 2240"/>
              <a:gd name="T23" fmla="*/ 120 h 1760"/>
              <a:gd name="T24" fmla="*/ 2080 w 2240"/>
              <a:gd name="T25" fmla="*/ 1280 h 1760"/>
              <a:gd name="T26" fmla="*/ 2000 w 2240"/>
              <a:gd name="T27" fmla="*/ 1280 h 1760"/>
              <a:gd name="T28" fmla="*/ 2000 w 2240"/>
              <a:gd name="T29" fmla="*/ 120 h 1760"/>
              <a:gd name="T30" fmla="*/ 1960 w 2240"/>
              <a:gd name="T31" fmla="*/ 80 h 1760"/>
              <a:gd name="T32" fmla="*/ 280 w 2240"/>
              <a:gd name="T33" fmla="*/ 80 h 1760"/>
              <a:gd name="T34" fmla="*/ 240 w 2240"/>
              <a:gd name="T35" fmla="*/ 120 h 1760"/>
              <a:gd name="T36" fmla="*/ 240 w 2240"/>
              <a:gd name="T37" fmla="*/ 1280 h 1760"/>
              <a:gd name="T38" fmla="*/ 160 w 2240"/>
              <a:gd name="T39" fmla="*/ 1280 h 1760"/>
              <a:gd name="T40" fmla="*/ 960 w 2240"/>
              <a:gd name="T41" fmla="*/ 1600 h 1760"/>
              <a:gd name="T42" fmla="*/ 1280 w 2240"/>
              <a:gd name="T43" fmla="*/ 1600 h 1760"/>
              <a:gd name="T44" fmla="*/ 1320 w 2240"/>
              <a:gd name="T45" fmla="*/ 1560 h 1760"/>
              <a:gd name="T46" fmla="*/ 1280 w 2240"/>
              <a:gd name="T47" fmla="*/ 1520 h 1760"/>
              <a:gd name="T48" fmla="*/ 960 w 2240"/>
              <a:gd name="T49" fmla="*/ 1520 h 1760"/>
              <a:gd name="T50" fmla="*/ 920 w 2240"/>
              <a:gd name="T51" fmla="*/ 1560 h 1760"/>
              <a:gd name="T52" fmla="*/ 960 w 2240"/>
              <a:gd name="T53" fmla="*/ 1600 h 1760"/>
              <a:gd name="T54" fmla="*/ 320 w 2240"/>
              <a:gd name="T55" fmla="*/ 1280 h 1760"/>
              <a:gd name="T56" fmla="*/ 320 w 2240"/>
              <a:gd name="T57" fmla="*/ 160 h 1760"/>
              <a:gd name="T58" fmla="*/ 1920 w 2240"/>
              <a:gd name="T59" fmla="*/ 160 h 1760"/>
              <a:gd name="T60" fmla="*/ 1920 w 2240"/>
              <a:gd name="T61" fmla="*/ 1280 h 1760"/>
              <a:gd name="T62" fmla="*/ 320 w 2240"/>
              <a:gd name="T63" fmla="*/ 1280 h 1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240" h="1760">
                <a:moveTo>
                  <a:pt x="2240" y="1360"/>
                </a:moveTo>
                <a:cubicBezTo>
                  <a:pt x="2240" y="1560"/>
                  <a:pt x="2240" y="1560"/>
                  <a:pt x="2240" y="1560"/>
                </a:cubicBezTo>
                <a:cubicBezTo>
                  <a:pt x="2240" y="1670"/>
                  <a:pt x="2150" y="1760"/>
                  <a:pt x="2040" y="1760"/>
                </a:cubicBezTo>
                <a:cubicBezTo>
                  <a:pt x="200" y="1760"/>
                  <a:pt x="200" y="1760"/>
                  <a:pt x="200" y="1760"/>
                </a:cubicBezTo>
                <a:cubicBezTo>
                  <a:pt x="90" y="1760"/>
                  <a:pt x="0" y="1670"/>
                  <a:pt x="0" y="1560"/>
                </a:cubicBezTo>
                <a:cubicBezTo>
                  <a:pt x="0" y="1360"/>
                  <a:pt x="0" y="1360"/>
                  <a:pt x="0" y="1360"/>
                </a:cubicBezTo>
                <a:cubicBezTo>
                  <a:pt x="747" y="1360"/>
                  <a:pt x="1493" y="1360"/>
                  <a:pt x="2240" y="1360"/>
                </a:cubicBezTo>
                <a:close/>
                <a:moveTo>
                  <a:pt x="160" y="1280"/>
                </a:moveTo>
                <a:cubicBezTo>
                  <a:pt x="160" y="120"/>
                  <a:pt x="160" y="120"/>
                  <a:pt x="160" y="120"/>
                </a:cubicBezTo>
                <a:cubicBezTo>
                  <a:pt x="160" y="54"/>
                  <a:pt x="214" y="0"/>
                  <a:pt x="280" y="0"/>
                </a:cubicBezTo>
                <a:cubicBezTo>
                  <a:pt x="1960" y="0"/>
                  <a:pt x="1960" y="0"/>
                  <a:pt x="1960" y="0"/>
                </a:cubicBezTo>
                <a:cubicBezTo>
                  <a:pt x="2026" y="0"/>
                  <a:pt x="2080" y="54"/>
                  <a:pt x="2080" y="120"/>
                </a:cubicBezTo>
                <a:cubicBezTo>
                  <a:pt x="2080" y="1280"/>
                  <a:pt x="2080" y="1280"/>
                  <a:pt x="2080" y="1280"/>
                </a:cubicBezTo>
                <a:cubicBezTo>
                  <a:pt x="2000" y="1280"/>
                  <a:pt x="2000" y="1280"/>
                  <a:pt x="2000" y="1280"/>
                </a:cubicBezTo>
                <a:cubicBezTo>
                  <a:pt x="2000" y="120"/>
                  <a:pt x="2000" y="120"/>
                  <a:pt x="2000" y="120"/>
                </a:cubicBezTo>
                <a:cubicBezTo>
                  <a:pt x="2000" y="98"/>
                  <a:pt x="1982" y="80"/>
                  <a:pt x="1960" y="80"/>
                </a:cubicBezTo>
                <a:cubicBezTo>
                  <a:pt x="280" y="80"/>
                  <a:pt x="280" y="80"/>
                  <a:pt x="280" y="80"/>
                </a:cubicBezTo>
                <a:cubicBezTo>
                  <a:pt x="258" y="80"/>
                  <a:pt x="240" y="98"/>
                  <a:pt x="240" y="120"/>
                </a:cubicBezTo>
                <a:cubicBezTo>
                  <a:pt x="240" y="1280"/>
                  <a:pt x="240" y="1280"/>
                  <a:pt x="240" y="1280"/>
                </a:cubicBezTo>
                <a:lnTo>
                  <a:pt x="160" y="1280"/>
                </a:lnTo>
                <a:close/>
                <a:moveTo>
                  <a:pt x="960" y="1600"/>
                </a:moveTo>
                <a:cubicBezTo>
                  <a:pt x="1280" y="1600"/>
                  <a:pt x="1280" y="1600"/>
                  <a:pt x="1280" y="1600"/>
                </a:cubicBezTo>
                <a:cubicBezTo>
                  <a:pt x="1302" y="1600"/>
                  <a:pt x="1320" y="1582"/>
                  <a:pt x="1320" y="1560"/>
                </a:cubicBezTo>
                <a:cubicBezTo>
                  <a:pt x="1320" y="1538"/>
                  <a:pt x="1302" y="1520"/>
                  <a:pt x="1280" y="1520"/>
                </a:cubicBezTo>
                <a:cubicBezTo>
                  <a:pt x="960" y="1520"/>
                  <a:pt x="960" y="1520"/>
                  <a:pt x="960" y="1520"/>
                </a:cubicBezTo>
                <a:cubicBezTo>
                  <a:pt x="938" y="1520"/>
                  <a:pt x="920" y="1538"/>
                  <a:pt x="920" y="1560"/>
                </a:cubicBezTo>
                <a:cubicBezTo>
                  <a:pt x="920" y="1582"/>
                  <a:pt x="938" y="1600"/>
                  <a:pt x="960" y="1600"/>
                </a:cubicBezTo>
                <a:close/>
                <a:moveTo>
                  <a:pt x="320" y="1280"/>
                </a:moveTo>
                <a:cubicBezTo>
                  <a:pt x="320" y="160"/>
                  <a:pt x="320" y="160"/>
                  <a:pt x="320" y="160"/>
                </a:cubicBezTo>
                <a:cubicBezTo>
                  <a:pt x="1920" y="160"/>
                  <a:pt x="1920" y="160"/>
                  <a:pt x="1920" y="160"/>
                </a:cubicBezTo>
                <a:cubicBezTo>
                  <a:pt x="1920" y="1280"/>
                  <a:pt x="1920" y="1280"/>
                  <a:pt x="1920" y="1280"/>
                </a:cubicBezTo>
                <a:lnTo>
                  <a:pt x="320" y="1280"/>
                </a:lnTo>
                <a:close/>
              </a:path>
            </a:pathLst>
          </a:custGeom>
          <a:solidFill>
            <a:srgbClr val="7030A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4" name="Freeform 12"/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4883585" y="1235193"/>
            <a:ext cx="289861" cy="358875"/>
          </a:xfrm>
          <a:custGeom>
            <a:avLst/>
            <a:gdLst>
              <a:gd name="T0" fmla="*/ 1680 w 1680"/>
              <a:gd name="T1" fmla="*/ 120 h 2080"/>
              <a:gd name="T2" fmla="*/ 1680 w 1680"/>
              <a:gd name="T3" fmla="*/ 1960 h 2080"/>
              <a:gd name="T4" fmla="*/ 1560 w 1680"/>
              <a:gd name="T5" fmla="*/ 2080 h 2080"/>
              <a:gd name="T6" fmla="*/ 120 w 1680"/>
              <a:gd name="T7" fmla="*/ 2080 h 2080"/>
              <a:gd name="T8" fmla="*/ 0 w 1680"/>
              <a:gd name="T9" fmla="*/ 1960 h 2080"/>
              <a:gd name="T10" fmla="*/ 0 w 1680"/>
              <a:gd name="T11" fmla="*/ 120 h 2080"/>
              <a:gd name="T12" fmla="*/ 120 w 1680"/>
              <a:gd name="T13" fmla="*/ 0 h 2080"/>
              <a:gd name="T14" fmla="*/ 1560 w 1680"/>
              <a:gd name="T15" fmla="*/ 0 h 2080"/>
              <a:gd name="T16" fmla="*/ 1680 w 1680"/>
              <a:gd name="T17" fmla="*/ 120 h 2080"/>
              <a:gd name="T18" fmla="*/ 720 w 1680"/>
              <a:gd name="T19" fmla="*/ 1920 h 2080"/>
              <a:gd name="T20" fmla="*/ 960 w 1680"/>
              <a:gd name="T21" fmla="*/ 1920 h 2080"/>
              <a:gd name="T22" fmla="*/ 1000 w 1680"/>
              <a:gd name="T23" fmla="*/ 1880 h 2080"/>
              <a:gd name="T24" fmla="*/ 960 w 1680"/>
              <a:gd name="T25" fmla="*/ 1840 h 2080"/>
              <a:gd name="T26" fmla="*/ 720 w 1680"/>
              <a:gd name="T27" fmla="*/ 1840 h 2080"/>
              <a:gd name="T28" fmla="*/ 680 w 1680"/>
              <a:gd name="T29" fmla="*/ 1880 h 2080"/>
              <a:gd name="T30" fmla="*/ 720 w 1680"/>
              <a:gd name="T31" fmla="*/ 1920 h 2080"/>
              <a:gd name="T32" fmla="*/ 160 w 1680"/>
              <a:gd name="T33" fmla="*/ 160 h 2080"/>
              <a:gd name="T34" fmla="*/ 160 w 1680"/>
              <a:gd name="T35" fmla="*/ 1760 h 2080"/>
              <a:gd name="T36" fmla="*/ 1520 w 1680"/>
              <a:gd name="T37" fmla="*/ 1760 h 2080"/>
              <a:gd name="T38" fmla="*/ 1520 w 1680"/>
              <a:gd name="T39" fmla="*/ 160 h 2080"/>
              <a:gd name="T40" fmla="*/ 160 w 1680"/>
              <a:gd name="T41" fmla="*/ 160 h 2080"/>
              <a:gd name="T42" fmla="*/ 1440 w 1680"/>
              <a:gd name="T43" fmla="*/ 240 h 2080"/>
              <a:gd name="T44" fmla="*/ 1440 w 1680"/>
              <a:gd name="T45" fmla="*/ 1680 h 2080"/>
              <a:gd name="T46" fmla="*/ 240 w 1680"/>
              <a:gd name="T47" fmla="*/ 1680 h 2080"/>
              <a:gd name="T48" fmla="*/ 240 w 1680"/>
              <a:gd name="T49" fmla="*/ 240 h 2080"/>
              <a:gd name="T50" fmla="*/ 1440 w 1680"/>
              <a:gd name="T51" fmla="*/ 24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680" h="2080">
                <a:moveTo>
                  <a:pt x="1680" y="120"/>
                </a:moveTo>
                <a:cubicBezTo>
                  <a:pt x="1680" y="1960"/>
                  <a:pt x="1680" y="1960"/>
                  <a:pt x="1680" y="1960"/>
                </a:cubicBezTo>
                <a:cubicBezTo>
                  <a:pt x="1680" y="2026"/>
                  <a:pt x="1626" y="2080"/>
                  <a:pt x="1560" y="2080"/>
                </a:cubicBezTo>
                <a:cubicBezTo>
                  <a:pt x="120" y="2080"/>
                  <a:pt x="120" y="2080"/>
                  <a:pt x="120" y="2080"/>
                </a:cubicBezTo>
                <a:cubicBezTo>
                  <a:pt x="54" y="2080"/>
                  <a:pt x="0" y="2026"/>
                  <a:pt x="0" y="196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54"/>
                  <a:pt x="54" y="0"/>
                  <a:pt x="120" y="0"/>
                </a:cubicBezTo>
                <a:cubicBezTo>
                  <a:pt x="1560" y="0"/>
                  <a:pt x="1560" y="0"/>
                  <a:pt x="1560" y="0"/>
                </a:cubicBezTo>
                <a:cubicBezTo>
                  <a:pt x="1626" y="0"/>
                  <a:pt x="1680" y="54"/>
                  <a:pt x="1680" y="120"/>
                </a:cubicBezTo>
                <a:close/>
                <a:moveTo>
                  <a:pt x="720" y="1920"/>
                </a:moveTo>
                <a:cubicBezTo>
                  <a:pt x="960" y="1920"/>
                  <a:pt x="960" y="1920"/>
                  <a:pt x="960" y="1920"/>
                </a:cubicBezTo>
                <a:cubicBezTo>
                  <a:pt x="982" y="1920"/>
                  <a:pt x="1000" y="1902"/>
                  <a:pt x="1000" y="1880"/>
                </a:cubicBezTo>
                <a:cubicBezTo>
                  <a:pt x="1000" y="1858"/>
                  <a:pt x="982" y="1840"/>
                  <a:pt x="960" y="1840"/>
                </a:cubicBezTo>
                <a:cubicBezTo>
                  <a:pt x="720" y="1840"/>
                  <a:pt x="720" y="1840"/>
                  <a:pt x="720" y="1840"/>
                </a:cubicBezTo>
                <a:cubicBezTo>
                  <a:pt x="698" y="1840"/>
                  <a:pt x="680" y="1858"/>
                  <a:pt x="680" y="1880"/>
                </a:cubicBezTo>
                <a:cubicBezTo>
                  <a:pt x="680" y="1902"/>
                  <a:pt x="698" y="1920"/>
                  <a:pt x="720" y="1920"/>
                </a:cubicBezTo>
                <a:close/>
                <a:moveTo>
                  <a:pt x="160" y="160"/>
                </a:moveTo>
                <a:cubicBezTo>
                  <a:pt x="160" y="1760"/>
                  <a:pt x="160" y="1760"/>
                  <a:pt x="160" y="1760"/>
                </a:cubicBezTo>
                <a:cubicBezTo>
                  <a:pt x="1520" y="1760"/>
                  <a:pt x="1520" y="1760"/>
                  <a:pt x="1520" y="1760"/>
                </a:cubicBezTo>
                <a:cubicBezTo>
                  <a:pt x="1520" y="160"/>
                  <a:pt x="1520" y="160"/>
                  <a:pt x="1520" y="160"/>
                </a:cubicBezTo>
                <a:lnTo>
                  <a:pt x="160" y="160"/>
                </a:lnTo>
                <a:close/>
                <a:moveTo>
                  <a:pt x="1440" y="240"/>
                </a:moveTo>
                <a:cubicBezTo>
                  <a:pt x="1440" y="1680"/>
                  <a:pt x="1440" y="1680"/>
                  <a:pt x="1440" y="1680"/>
                </a:cubicBezTo>
                <a:cubicBezTo>
                  <a:pt x="240" y="1680"/>
                  <a:pt x="240" y="1680"/>
                  <a:pt x="240" y="1680"/>
                </a:cubicBezTo>
                <a:cubicBezTo>
                  <a:pt x="240" y="240"/>
                  <a:pt x="240" y="240"/>
                  <a:pt x="240" y="240"/>
                </a:cubicBezTo>
                <a:lnTo>
                  <a:pt x="1440" y="24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5" name="Freeform 45"/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auto">
          <a:xfrm>
            <a:off x="4493009" y="1364398"/>
            <a:ext cx="162744" cy="239571"/>
          </a:xfrm>
          <a:custGeom>
            <a:avLst/>
            <a:gdLst>
              <a:gd name="T0" fmla="*/ 600 w 1440"/>
              <a:gd name="T1" fmla="*/ 240 h 2120"/>
              <a:gd name="T2" fmla="*/ 840 w 1440"/>
              <a:gd name="T3" fmla="*/ 240 h 2120"/>
              <a:gd name="T4" fmla="*/ 880 w 1440"/>
              <a:gd name="T5" fmla="*/ 200 h 2120"/>
              <a:gd name="T6" fmla="*/ 840 w 1440"/>
              <a:gd name="T7" fmla="*/ 160 h 2120"/>
              <a:gd name="T8" fmla="*/ 600 w 1440"/>
              <a:gd name="T9" fmla="*/ 160 h 2120"/>
              <a:gd name="T10" fmla="*/ 560 w 1440"/>
              <a:gd name="T11" fmla="*/ 200 h 2120"/>
              <a:gd name="T12" fmla="*/ 600 w 1440"/>
              <a:gd name="T13" fmla="*/ 240 h 2120"/>
              <a:gd name="T14" fmla="*/ 721 w 1440"/>
              <a:gd name="T15" fmla="*/ 1759 h 2120"/>
              <a:gd name="T16" fmla="*/ 601 w 1440"/>
              <a:gd name="T17" fmla="*/ 1879 h 2120"/>
              <a:gd name="T18" fmla="*/ 721 w 1440"/>
              <a:gd name="T19" fmla="*/ 1999 h 2120"/>
              <a:gd name="T20" fmla="*/ 841 w 1440"/>
              <a:gd name="T21" fmla="*/ 1879 h 2120"/>
              <a:gd name="T22" fmla="*/ 721 w 1440"/>
              <a:gd name="T23" fmla="*/ 1759 h 2120"/>
              <a:gd name="T24" fmla="*/ 200 w 1440"/>
              <a:gd name="T25" fmla="*/ 0 h 2120"/>
              <a:gd name="T26" fmla="*/ 1240 w 1440"/>
              <a:gd name="T27" fmla="*/ 0 h 2120"/>
              <a:gd name="T28" fmla="*/ 1440 w 1440"/>
              <a:gd name="T29" fmla="*/ 200 h 2120"/>
              <a:gd name="T30" fmla="*/ 1440 w 1440"/>
              <a:gd name="T31" fmla="*/ 1920 h 2120"/>
              <a:gd name="T32" fmla="*/ 1240 w 1440"/>
              <a:gd name="T33" fmla="*/ 2120 h 2120"/>
              <a:gd name="T34" fmla="*/ 200 w 1440"/>
              <a:gd name="T35" fmla="*/ 2120 h 2120"/>
              <a:gd name="T36" fmla="*/ 0 w 1440"/>
              <a:gd name="T37" fmla="*/ 1920 h 2120"/>
              <a:gd name="T38" fmla="*/ 0 w 1440"/>
              <a:gd name="T39" fmla="*/ 200 h 2120"/>
              <a:gd name="T40" fmla="*/ 200 w 1440"/>
              <a:gd name="T41" fmla="*/ 0 h 2120"/>
              <a:gd name="T42" fmla="*/ 200 w 1440"/>
              <a:gd name="T43" fmla="*/ 360 h 2120"/>
              <a:gd name="T44" fmla="*/ 200 w 1440"/>
              <a:gd name="T45" fmla="*/ 1680 h 2120"/>
              <a:gd name="T46" fmla="*/ 1240 w 1440"/>
              <a:gd name="T47" fmla="*/ 1680 h 2120"/>
              <a:gd name="T48" fmla="*/ 1240 w 1440"/>
              <a:gd name="T49" fmla="*/ 360 h 2120"/>
              <a:gd name="T50" fmla="*/ 200 w 1440"/>
              <a:gd name="T51" fmla="*/ 360 h 2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440" h="2120">
                <a:moveTo>
                  <a:pt x="600" y="240"/>
                </a:moveTo>
                <a:cubicBezTo>
                  <a:pt x="840" y="240"/>
                  <a:pt x="840" y="240"/>
                  <a:pt x="840" y="240"/>
                </a:cubicBezTo>
                <a:cubicBezTo>
                  <a:pt x="862" y="240"/>
                  <a:pt x="880" y="222"/>
                  <a:pt x="880" y="200"/>
                </a:cubicBezTo>
                <a:cubicBezTo>
                  <a:pt x="880" y="178"/>
                  <a:pt x="862" y="160"/>
                  <a:pt x="840" y="160"/>
                </a:cubicBezTo>
                <a:cubicBezTo>
                  <a:pt x="600" y="160"/>
                  <a:pt x="600" y="160"/>
                  <a:pt x="600" y="160"/>
                </a:cubicBezTo>
                <a:cubicBezTo>
                  <a:pt x="578" y="160"/>
                  <a:pt x="560" y="178"/>
                  <a:pt x="560" y="200"/>
                </a:cubicBezTo>
                <a:cubicBezTo>
                  <a:pt x="560" y="222"/>
                  <a:pt x="578" y="240"/>
                  <a:pt x="600" y="240"/>
                </a:cubicBezTo>
                <a:close/>
                <a:moveTo>
                  <a:pt x="721" y="1759"/>
                </a:moveTo>
                <a:cubicBezTo>
                  <a:pt x="655" y="1759"/>
                  <a:pt x="601" y="1813"/>
                  <a:pt x="601" y="1879"/>
                </a:cubicBezTo>
                <a:cubicBezTo>
                  <a:pt x="601" y="1945"/>
                  <a:pt x="655" y="1999"/>
                  <a:pt x="721" y="1999"/>
                </a:cubicBezTo>
                <a:cubicBezTo>
                  <a:pt x="787" y="1999"/>
                  <a:pt x="841" y="1945"/>
                  <a:pt x="841" y="1879"/>
                </a:cubicBezTo>
                <a:cubicBezTo>
                  <a:pt x="841" y="1813"/>
                  <a:pt x="787" y="1759"/>
                  <a:pt x="721" y="1759"/>
                </a:cubicBezTo>
                <a:close/>
                <a:moveTo>
                  <a:pt x="200" y="0"/>
                </a:moveTo>
                <a:cubicBezTo>
                  <a:pt x="1240" y="0"/>
                  <a:pt x="1240" y="0"/>
                  <a:pt x="1240" y="0"/>
                </a:cubicBezTo>
                <a:cubicBezTo>
                  <a:pt x="1350" y="0"/>
                  <a:pt x="1440" y="90"/>
                  <a:pt x="1440" y="200"/>
                </a:cubicBezTo>
                <a:cubicBezTo>
                  <a:pt x="1440" y="1920"/>
                  <a:pt x="1440" y="1920"/>
                  <a:pt x="1440" y="1920"/>
                </a:cubicBezTo>
                <a:cubicBezTo>
                  <a:pt x="1440" y="2030"/>
                  <a:pt x="1350" y="2120"/>
                  <a:pt x="1240" y="2120"/>
                </a:cubicBezTo>
                <a:cubicBezTo>
                  <a:pt x="200" y="2120"/>
                  <a:pt x="200" y="2120"/>
                  <a:pt x="200" y="2120"/>
                </a:cubicBezTo>
                <a:cubicBezTo>
                  <a:pt x="90" y="2120"/>
                  <a:pt x="0" y="2030"/>
                  <a:pt x="0" y="1920"/>
                </a:cubicBezTo>
                <a:cubicBezTo>
                  <a:pt x="0" y="200"/>
                  <a:pt x="0" y="200"/>
                  <a:pt x="0" y="200"/>
                </a:cubicBezTo>
                <a:cubicBezTo>
                  <a:pt x="0" y="90"/>
                  <a:pt x="90" y="0"/>
                  <a:pt x="200" y="0"/>
                </a:cubicBezTo>
                <a:close/>
                <a:moveTo>
                  <a:pt x="200" y="360"/>
                </a:moveTo>
                <a:cubicBezTo>
                  <a:pt x="200" y="1680"/>
                  <a:pt x="200" y="1680"/>
                  <a:pt x="200" y="1680"/>
                </a:cubicBezTo>
                <a:cubicBezTo>
                  <a:pt x="1240" y="1680"/>
                  <a:pt x="1240" y="1680"/>
                  <a:pt x="1240" y="1680"/>
                </a:cubicBezTo>
                <a:cubicBezTo>
                  <a:pt x="1240" y="360"/>
                  <a:pt x="1240" y="360"/>
                  <a:pt x="1240" y="360"/>
                </a:cubicBezTo>
                <a:lnTo>
                  <a:pt x="200" y="360"/>
                </a:lnTo>
                <a:close/>
              </a:path>
            </a:pathLst>
          </a:custGeom>
          <a:solidFill>
            <a:srgbClr val="CD520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 noProof="1"/>
          </a:p>
        </p:txBody>
      </p:sp>
      <p:sp>
        <p:nvSpPr>
          <p:cNvPr id="16" name="TextBox 15"/>
          <p:cNvSpPr txBox="1"/>
          <p:nvPr/>
        </p:nvSpPr>
        <p:spPr>
          <a:xfrm>
            <a:off x="4724985" y="1603968"/>
            <a:ext cx="607060" cy="1246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800" b="1" dirty="0" smtClean="0">
                <a:solidFill>
                  <a:schemeClr val="accent3"/>
                </a:solidFill>
                <a:latin typeface="Arial" pitchFamily="34" charset="0"/>
              </a:rPr>
              <a:t>TABLET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270851" y="1603969"/>
            <a:ext cx="607060" cy="1246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800" b="1" dirty="0" smtClean="0">
                <a:solidFill>
                  <a:srgbClr val="E95E0F"/>
                </a:solidFill>
                <a:latin typeface="Arial" pitchFamily="34" charset="0"/>
              </a:rPr>
              <a:t>PHON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855468" y="1603970"/>
            <a:ext cx="607060" cy="1246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800" b="1" dirty="0" smtClean="0">
                <a:solidFill>
                  <a:srgbClr val="7030A0"/>
                </a:solidFill>
                <a:latin typeface="Arial" pitchFamily="34" charset="0"/>
              </a:rPr>
              <a:t>PC</a:t>
            </a:r>
          </a:p>
        </p:txBody>
      </p:sp>
    </p:spTree>
    <p:extLst>
      <p:ext uri="{BB962C8B-B14F-4D97-AF65-F5344CB8AC3E}">
        <p14:creationId xmlns:p14="http://schemas.microsoft.com/office/powerpoint/2010/main" val="810545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740846"/>
            <a:ext cx="9148763" cy="6100930"/>
          </a:xfrm>
          <a:prstGeom prst="rect">
            <a:avLst/>
          </a:prstGeom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89313" y="195548"/>
            <a:ext cx="576379" cy="576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38239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7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H:\Presentations\IMAGES for Presentations\200024506-001_2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574381" y="0"/>
            <a:ext cx="4574382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3" name="Picture 3" descr="H:\Presentations\IMAGES for Presentations\200024506-001_2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4574382" cy="5145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596" y="133392"/>
            <a:ext cx="8462208" cy="333477"/>
          </a:xfrm>
        </p:spPr>
        <p:txBody>
          <a:bodyPr/>
          <a:lstStyle/>
          <a:p>
            <a:r>
              <a:rPr lang="en-US" b="1" dirty="0" smtClean="0"/>
              <a:t>Approaches in Commercial Roll-Out</a:t>
            </a:r>
            <a:endParaRPr lang="en-US" b="1" dirty="0"/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4312717"/>
              </p:ext>
            </p:extLst>
          </p:nvPr>
        </p:nvGraphicFramePr>
        <p:xfrm>
          <a:off x="381199" y="971850"/>
          <a:ext cx="8386366" cy="3007893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6729800"/>
                <a:gridCol w="1656566"/>
              </a:tblGrid>
              <a:tr h="41121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Project</a:t>
                      </a:r>
                    </a:p>
                  </a:txBody>
                  <a:tcPr marL="91488" marR="91488" marT="45734" marB="45734" anchor="ctr">
                    <a:solidFill>
                      <a:schemeClr val="tx1">
                        <a:alpha val="9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Status</a:t>
                      </a:r>
                      <a:endParaRPr lang="en-GB" sz="1400" dirty="0"/>
                    </a:p>
                  </a:txBody>
                  <a:tcPr marL="91488" marR="91488" marT="45734" marB="45734" anchor="ctr">
                    <a:solidFill>
                      <a:schemeClr val="tx1">
                        <a:alpha val="92000"/>
                      </a:schemeClr>
                    </a:solidFill>
                  </a:tcPr>
                </a:tc>
              </a:tr>
              <a:tr h="370954"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Social Media Intelligenc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88" marR="91488" marT="45734" marB="45734">
                    <a:solidFill>
                      <a:schemeClr val="tx2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bg1"/>
                        </a:solidFill>
                      </a:endParaRPr>
                    </a:p>
                  </a:txBody>
                  <a:tcPr marL="91488" marR="91488" marT="45734" marB="45734">
                    <a:solidFill>
                      <a:schemeClr val="tx2">
                        <a:alpha val="80000"/>
                      </a:schemeClr>
                    </a:solidFill>
                  </a:tcPr>
                </a:tc>
              </a:tr>
              <a:tr h="370954"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New Digital Qualitative Approaches (</a:t>
                      </a:r>
                      <a:r>
                        <a:rPr lang="en-GB" sz="1400" dirty="0" err="1" smtClean="0">
                          <a:solidFill>
                            <a:schemeClr val="tx1"/>
                          </a:solidFill>
                        </a:rPr>
                        <a:t>Sociolog.dx</a:t>
                      </a:r>
                      <a:r>
                        <a:rPr lang="en-GB" sz="1400" baseline="0" dirty="0" smtClean="0">
                          <a:solidFill>
                            <a:schemeClr val="tx1"/>
                          </a:solidFill>
                        </a:rPr>
                        <a:t> extensions)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88" marR="91488" marT="45734" marB="45734">
                    <a:solidFill>
                      <a:schemeClr val="bg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bg1"/>
                        </a:solidFill>
                      </a:endParaRPr>
                    </a:p>
                  </a:txBody>
                  <a:tcPr marL="91488" marR="91488" marT="45734" marB="45734">
                    <a:solidFill>
                      <a:schemeClr val="bg1">
                        <a:alpha val="70000"/>
                      </a:schemeClr>
                    </a:solidFill>
                  </a:tcPr>
                </a:tc>
              </a:tr>
              <a:tr h="370954"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Purchase Journey 2.0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88" marR="91488" marT="45734" marB="45734">
                    <a:solidFill>
                      <a:schemeClr val="tx2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bg1"/>
                        </a:solidFill>
                      </a:endParaRPr>
                    </a:p>
                  </a:txBody>
                  <a:tcPr marL="91488" marR="91488" marT="45734" marB="45734">
                    <a:solidFill>
                      <a:schemeClr val="tx2">
                        <a:alpha val="80000"/>
                      </a:schemeClr>
                    </a:solidFill>
                  </a:tcPr>
                </a:tc>
              </a:tr>
              <a:tr h="370954"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Mobile Web Usage Monitoring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88" marR="91488" marT="45734" marB="45734">
                    <a:solidFill>
                      <a:schemeClr val="bg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bg1"/>
                        </a:solidFill>
                      </a:endParaRPr>
                    </a:p>
                  </a:txBody>
                  <a:tcPr marL="91488" marR="91488" marT="45734" marB="45734">
                    <a:solidFill>
                      <a:schemeClr val="bg1">
                        <a:alpha val="70000"/>
                      </a:schemeClr>
                    </a:solidFill>
                  </a:tcPr>
                </a:tc>
              </a:tr>
              <a:tr h="3709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EMO Scan 1.0 (FMA for ad testing)</a:t>
                      </a:r>
                    </a:p>
                  </a:txBody>
                  <a:tcPr marL="91488" marR="91488" marT="45734" marB="45734">
                    <a:solidFill>
                      <a:schemeClr val="tx2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bg1"/>
                        </a:solidFill>
                      </a:endParaRPr>
                    </a:p>
                  </a:txBody>
                  <a:tcPr marL="91488" marR="91488" marT="45734" marB="45734">
                    <a:solidFill>
                      <a:schemeClr val="tx2">
                        <a:alpha val="80000"/>
                      </a:schemeClr>
                    </a:solidFill>
                  </a:tcPr>
                </a:tc>
              </a:tr>
              <a:tr h="3709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err="1" smtClean="0"/>
                        <a:t>OpinionPlanet.dx</a:t>
                      </a:r>
                      <a:r>
                        <a:rPr lang="en-GB" sz="1400" dirty="0" smtClean="0"/>
                        <a:t> v2.0</a:t>
                      </a:r>
                    </a:p>
                  </a:txBody>
                  <a:tcPr marL="91488" marR="91488" marT="45734" marB="45734">
                    <a:solidFill>
                      <a:schemeClr val="bg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 marL="91488" marR="91488" marT="45734" marB="45734">
                    <a:solidFill>
                      <a:schemeClr val="bg1">
                        <a:alpha val="70000"/>
                      </a:schemeClr>
                    </a:solidFill>
                  </a:tcPr>
                </a:tc>
              </a:tr>
              <a:tr h="3709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88" marR="91488" marT="45734" marB="45734">
                    <a:solidFill>
                      <a:schemeClr val="tx2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 marL="91488" marR="91488" marT="45734" marB="45734">
                    <a:solidFill>
                      <a:schemeClr val="tx2">
                        <a:alpha val="8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8831" y="1429191"/>
            <a:ext cx="398127" cy="285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5760" y="1800781"/>
            <a:ext cx="398127" cy="285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5760" y="2172371"/>
            <a:ext cx="398127" cy="285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5760" y="2543960"/>
            <a:ext cx="398127" cy="285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5760" y="2915550"/>
            <a:ext cx="398127" cy="285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2350" y="3298400"/>
            <a:ext cx="398127" cy="285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Fotosearch_SF009-045.jpg"/>
          <p:cNvPicPr>
            <a:picLocks noChangeAspect="1"/>
          </p:cNvPicPr>
          <p:nvPr/>
        </p:nvPicPr>
        <p:blipFill>
          <a:blip r:embed="rId5"/>
          <a:srcRect r="11066"/>
          <a:stretch>
            <a:fillRect/>
          </a:stretch>
        </p:blipFill>
        <p:spPr bwMode="auto">
          <a:xfrm>
            <a:off x="2" y="0"/>
            <a:ext cx="9153528" cy="68601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12"/>
          <p:cNvSpPr txBox="1"/>
          <p:nvPr/>
        </p:nvSpPr>
        <p:spPr>
          <a:xfrm>
            <a:off x="2" y="2774477"/>
            <a:ext cx="9153528" cy="1693294"/>
          </a:xfrm>
          <a:prstGeom prst="rect">
            <a:avLst/>
          </a:prstGeom>
          <a:solidFill>
            <a:schemeClr val="tx1">
              <a:alpha val="60000"/>
            </a:schemeClr>
          </a:solidFill>
        </p:spPr>
        <p:txBody>
          <a:bodyPr lIns="91477" tIns="45738" rIns="91477" bIns="45738">
            <a:spAutoFit/>
          </a:bodyPr>
          <a:lstStyle/>
          <a:p>
            <a:pPr algn="ctr">
              <a:defRPr/>
            </a:pPr>
            <a:r>
              <a:rPr lang="en-GB" sz="4400" b="1" dirty="0">
                <a:solidFill>
                  <a:srgbClr val="FFFFFF"/>
                </a:solidFill>
              </a:rPr>
              <a:t>THANK YOU!</a:t>
            </a:r>
          </a:p>
          <a:p>
            <a:pPr algn="r">
              <a:defRPr/>
            </a:pPr>
            <a:r>
              <a:rPr lang="en-GB" sz="2000" dirty="0">
                <a:solidFill>
                  <a:srgbClr val="FFFFFF"/>
                </a:solidFill>
              </a:rPr>
              <a:t>Natasha Stevens</a:t>
            </a:r>
          </a:p>
          <a:p>
            <a:pPr algn="r">
              <a:defRPr/>
            </a:pPr>
            <a:r>
              <a:rPr lang="en-GB" sz="2000" dirty="0">
                <a:solidFill>
                  <a:srgbClr val="FFFFFF"/>
                </a:solidFill>
              </a:rPr>
              <a:t>SVP – Digital Market Intelligence</a:t>
            </a:r>
          </a:p>
          <a:p>
            <a:pPr algn="r">
              <a:defRPr/>
            </a:pPr>
            <a:r>
              <a:rPr lang="en-GB" sz="2000" dirty="0">
                <a:solidFill>
                  <a:srgbClr val="FFFFFF"/>
                </a:solidFill>
              </a:rPr>
              <a:t>Natasha.Stevens@gfk.com</a:t>
            </a:r>
          </a:p>
        </p:txBody>
      </p:sp>
      <p:pic>
        <p:nvPicPr>
          <p:cNvPr id="14" name="Picture 1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50011" y="195487"/>
            <a:ext cx="576379" cy="576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2504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11679589"/>
              </p:ext>
            </p:extLst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12" name="Freihandform 11"/>
          <p:cNvSpPr/>
          <p:nvPr/>
        </p:nvSpPr>
        <p:spPr bwMode="gray">
          <a:xfrm>
            <a:off x="997422" y="988251"/>
            <a:ext cx="3746343" cy="3745549"/>
          </a:xfrm>
          <a:custGeom>
            <a:avLst/>
            <a:gdLst>
              <a:gd name="connsiteX0" fmla="*/ 0 w 2872740"/>
              <a:gd name="connsiteY0" fmla="*/ 1440180 h 2842260"/>
              <a:gd name="connsiteX1" fmla="*/ 1447800 w 2872740"/>
              <a:gd name="connsiteY1" fmla="*/ 0 h 2842260"/>
              <a:gd name="connsiteX2" fmla="*/ 2872740 w 2872740"/>
              <a:gd name="connsiteY2" fmla="*/ 1440180 h 2842260"/>
              <a:gd name="connsiteX3" fmla="*/ 1440180 w 2872740"/>
              <a:gd name="connsiteY3" fmla="*/ 2842260 h 2842260"/>
              <a:gd name="connsiteX4" fmla="*/ 0 w 2872740"/>
              <a:gd name="connsiteY4" fmla="*/ 1440180 h 2842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72740" h="2842260">
                <a:moveTo>
                  <a:pt x="0" y="1440180"/>
                </a:moveTo>
                <a:lnTo>
                  <a:pt x="1447800" y="0"/>
                </a:lnTo>
                <a:lnTo>
                  <a:pt x="2872740" y="1440180"/>
                </a:lnTo>
                <a:lnTo>
                  <a:pt x="1440180" y="2842260"/>
                </a:lnTo>
                <a:lnTo>
                  <a:pt x="0" y="144018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77" tIns="45738" rIns="91477" bIns="457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chemeClr val="accent2"/>
                </a:solidFill>
                <a:latin typeface="Arial" pitchFamily="34" charset="0"/>
              </a:rPr>
              <a:t>ONLINE </a:t>
            </a:r>
          </a:p>
          <a:p>
            <a:pPr algn="ctr"/>
            <a:r>
              <a:rPr lang="en-US" sz="2400" b="1" dirty="0">
                <a:solidFill>
                  <a:schemeClr val="accent2"/>
                </a:solidFill>
                <a:latin typeface="Arial" pitchFamily="34" charset="0"/>
              </a:rPr>
              <a:t>AS A DEFAULT</a:t>
            </a:r>
          </a:p>
        </p:txBody>
      </p:sp>
      <p:sp>
        <p:nvSpPr>
          <p:cNvPr id="13" name="Freihandform 12"/>
          <p:cNvSpPr/>
          <p:nvPr/>
        </p:nvSpPr>
        <p:spPr bwMode="gray">
          <a:xfrm>
            <a:off x="4387962" y="988227"/>
            <a:ext cx="3746343" cy="3745549"/>
          </a:xfrm>
          <a:custGeom>
            <a:avLst/>
            <a:gdLst>
              <a:gd name="connsiteX0" fmla="*/ 0 w 2872740"/>
              <a:gd name="connsiteY0" fmla="*/ 1440180 h 2842260"/>
              <a:gd name="connsiteX1" fmla="*/ 1447800 w 2872740"/>
              <a:gd name="connsiteY1" fmla="*/ 0 h 2842260"/>
              <a:gd name="connsiteX2" fmla="*/ 2872740 w 2872740"/>
              <a:gd name="connsiteY2" fmla="*/ 1440180 h 2842260"/>
              <a:gd name="connsiteX3" fmla="*/ 1440180 w 2872740"/>
              <a:gd name="connsiteY3" fmla="*/ 2842260 h 2842260"/>
              <a:gd name="connsiteX4" fmla="*/ 0 w 2872740"/>
              <a:gd name="connsiteY4" fmla="*/ 1440180 h 2842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72740" h="2842260">
                <a:moveTo>
                  <a:pt x="0" y="1440180"/>
                </a:moveTo>
                <a:lnTo>
                  <a:pt x="1447800" y="0"/>
                </a:lnTo>
                <a:lnTo>
                  <a:pt x="2872740" y="1440180"/>
                </a:lnTo>
                <a:lnTo>
                  <a:pt x="1440180" y="2842260"/>
                </a:lnTo>
                <a:lnTo>
                  <a:pt x="0" y="144018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77" tIns="45738" rIns="91477" bIns="457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chemeClr val="accent3"/>
                </a:solidFill>
                <a:latin typeface="Arial" pitchFamily="34" charset="0"/>
              </a:rPr>
              <a:t>OFFLINE </a:t>
            </a:r>
          </a:p>
          <a:p>
            <a:pPr algn="ctr"/>
            <a:r>
              <a:rPr lang="en-US" sz="2400" b="1" dirty="0">
                <a:solidFill>
                  <a:schemeClr val="accent3"/>
                </a:solidFill>
                <a:latin typeface="Arial" pitchFamily="34" charset="0"/>
              </a:rPr>
              <a:t>AS A CHOICE</a:t>
            </a:r>
          </a:p>
        </p:txBody>
      </p:sp>
      <p:sp>
        <p:nvSpPr>
          <p:cNvPr id="14" name="Gleichschenkliges Dreieck 13"/>
          <p:cNvSpPr/>
          <p:nvPr/>
        </p:nvSpPr>
        <p:spPr bwMode="gray">
          <a:xfrm>
            <a:off x="4828762" y="987729"/>
            <a:ext cx="2881227" cy="1440309"/>
          </a:xfrm>
          <a:prstGeom prst="triangle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77" tIns="45738" rIns="91477" bIns="45738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>
              <a:solidFill>
                <a:schemeClr val="accent2"/>
              </a:solidFill>
              <a:latin typeface="Arial" pitchFamily="34" charset="0"/>
            </a:endParaRPr>
          </a:p>
        </p:txBody>
      </p:sp>
      <p:sp>
        <p:nvSpPr>
          <p:cNvPr id="15" name="Raute 14"/>
          <p:cNvSpPr/>
          <p:nvPr/>
        </p:nvSpPr>
        <p:spPr bwMode="gray">
          <a:xfrm>
            <a:off x="4387960" y="987730"/>
            <a:ext cx="3746343" cy="3745549"/>
          </a:xfrm>
          <a:prstGeom prst="diamond">
            <a:avLst/>
          </a:prstGeom>
          <a:noFill/>
          <a:ln w="76200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77" tIns="45738" rIns="91477" bIns="457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6" name="Gleichschenkliges Dreieck 15"/>
          <p:cNvSpPr/>
          <p:nvPr/>
        </p:nvSpPr>
        <p:spPr bwMode="gray">
          <a:xfrm>
            <a:off x="1438219" y="987754"/>
            <a:ext cx="2881227" cy="1440309"/>
          </a:xfrm>
          <a:prstGeom prst="triangle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77" tIns="45738" rIns="91477" bIns="45738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>
              <a:solidFill>
                <a:schemeClr val="accent2"/>
              </a:solidFill>
              <a:latin typeface="Arial" pitchFamily="34" charset="0"/>
            </a:endParaRPr>
          </a:p>
        </p:txBody>
      </p:sp>
      <p:sp>
        <p:nvSpPr>
          <p:cNvPr id="17" name="Raute 16"/>
          <p:cNvSpPr/>
          <p:nvPr/>
        </p:nvSpPr>
        <p:spPr bwMode="gray">
          <a:xfrm>
            <a:off x="997420" y="987755"/>
            <a:ext cx="3746343" cy="3745549"/>
          </a:xfrm>
          <a:prstGeom prst="diamond">
            <a:avLst/>
          </a:prstGeom>
          <a:noFill/>
          <a:ln w="76200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77" tIns="45738" rIns="91477" bIns="457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8" name="Freeform 6"/>
          <p:cNvSpPr>
            <a:spLocks noEditPoints="1"/>
          </p:cNvSpPr>
          <p:nvPr/>
        </p:nvSpPr>
        <p:spPr bwMode="gray">
          <a:xfrm>
            <a:off x="2428733" y="1449190"/>
            <a:ext cx="900197" cy="884311"/>
          </a:xfrm>
          <a:custGeom>
            <a:avLst/>
            <a:gdLst>
              <a:gd name="T0" fmla="*/ 641 w 1117"/>
              <a:gd name="T1" fmla="*/ 1052 h 1097"/>
              <a:gd name="T2" fmla="*/ 744 w 1117"/>
              <a:gd name="T3" fmla="*/ 922 h 1097"/>
              <a:gd name="T4" fmla="*/ 806 w 1117"/>
              <a:gd name="T5" fmla="*/ 972 h 1097"/>
              <a:gd name="T6" fmla="*/ 889 w 1117"/>
              <a:gd name="T7" fmla="*/ 783 h 1097"/>
              <a:gd name="T8" fmla="*/ 900 w 1117"/>
              <a:gd name="T9" fmla="*/ 770 h 1097"/>
              <a:gd name="T10" fmla="*/ 1034 w 1117"/>
              <a:gd name="T11" fmla="*/ 628 h 1097"/>
              <a:gd name="T12" fmla="*/ 899 w 1117"/>
              <a:gd name="T13" fmla="*/ 576 h 1097"/>
              <a:gd name="T14" fmla="*/ 1036 w 1117"/>
              <a:gd name="T15" fmla="*/ 539 h 1097"/>
              <a:gd name="T16" fmla="*/ 896 w 1117"/>
              <a:gd name="T17" fmla="*/ 395 h 1097"/>
              <a:gd name="T18" fmla="*/ 920 w 1117"/>
              <a:gd name="T19" fmla="*/ 347 h 1097"/>
              <a:gd name="T20" fmla="*/ 798 w 1117"/>
              <a:gd name="T21" fmla="*/ 208 h 1097"/>
              <a:gd name="T22" fmla="*/ 745 w 1117"/>
              <a:gd name="T23" fmla="*/ 243 h 1097"/>
              <a:gd name="T24" fmla="*/ 600 w 1117"/>
              <a:gd name="T25" fmla="*/ 99 h 1097"/>
              <a:gd name="T26" fmla="*/ 572 w 1117"/>
              <a:gd name="T27" fmla="*/ 236 h 1097"/>
              <a:gd name="T28" fmla="*/ 512 w 1117"/>
              <a:gd name="T29" fmla="*/ 102 h 1097"/>
              <a:gd name="T30" fmla="*/ 367 w 1117"/>
              <a:gd name="T31" fmla="*/ 244 h 1097"/>
              <a:gd name="T32" fmla="*/ 294 w 1117"/>
              <a:gd name="T33" fmla="*/ 174 h 1097"/>
              <a:gd name="T34" fmla="*/ 224 w 1117"/>
              <a:gd name="T35" fmla="*/ 384 h 1097"/>
              <a:gd name="T36" fmla="*/ 126 w 1117"/>
              <a:gd name="T37" fmla="*/ 360 h 1097"/>
              <a:gd name="T38" fmla="*/ 206 w 1117"/>
              <a:gd name="T39" fmla="*/ 557 h 1097"/>
              <a:gd name="T40" fmla="*/ 105 w 1117"/>
              <a:gd name="T41" fmla="*/ 749 h 1097"/>
              <a:gd name="T42" fmla="*/ 812 w 1117"/>
              <a:gd name="T43" fmla="*/ 119 h 1097"/>
              <a:gd name="T44" fmla="*/ 542 w 1117"/>
              <a:gd name="T45" fmla="*/ 663 h 1097"/>
              <a:gd name="T46" fmla="*/ 778 w 1117"/>
              <a:gd name="T47" fmla="*/ 723 h 1097"/>
              <a:gd name="T48" fmla="*/ 850 w 1117"/>
              <a:gd name="T49" fmla="*/ 712 h 1097"/>
              <a:gd name="T50" fmla="*/ 655 w 1117"/>
              <a:gd name="T51" fmla="*/ 596 h 1097"/>
              <a:gd name="T52" fmla="*/ 600 w 1117"/>
              <a:gd name="T53" fmla="*/ 499 h 1097"/>
              <a:gd name="T54" fmla="*/ 563 w 1117"/>
              <a:gd name="T55" fmla="*/ 345 h 1097"/>
              <a:gd name="T56" fmla="*/ 512 w 1117"/>
              <a:gd name="T57" fmla="*/ 503 h 1097"/>
              <a:gd name="T58" fmla="*/ 345 w 1117"/>
              <a:gd name="T59" fmla="*/ 965 h 1097"/>
              <a:gd name="T60" fmla="*/ 311 w 1117"/>
              <a:gd name="T61" fmla="*/ 966 h 1097"/>
              <a:gd name="T62" fmla="*/ 216 w 1117"/>
              <a:gd name="T63" fmla="*/ 945 h 1097"/>
              <a:gd name="T64" fmla="*/ 348 w 1117"/>
              <a:gd name="T65" fmla="*/ 938 h 1097"/>
              <a:gd name="T66" fmla="*/ 339 w 1117"/>
              <a:gd name="T67" fmla="*/ 834 h 1097"/>
              <a:gd name="T68" fmla="*/ 339 w 1117"/>
              <a:gd name="T69" fmla="*/ 834 h 1097"/>
              <a:gd name="T70" fmla="*/ 86 w 1117"/>
              <a:gd name="T71" fmla="*/ 833 h 1097"/>
              <a:gd name="T72" fmla="*/ 171 w 1117"/>
              <a:gd name="T73" fmla="*/ 850 h 1097"/>
              <a:gd name="T74" fmla="*/ 171 w 1117"/>
              <a:gd name="T75" fmla="*/ 850 h 1097"/>
              <a:gd name="T76" fmla="*/ 101 w 1117"/>
              <a:gd name="T77" fmla="*/ 954 h 1097"/>
              <a:gd name="T78" fmla="*/ 82 w 1117"/>
              <a:gd name="T79" fmla="*/ 1028 h 1097"/>
              <a:gd name="T80" fmla="*/ 180 w 1117"/>
              <a:gd name="T81" fmla="*/ 1003 h 1097"/>
              <a:gd name="T82" fmla="*/ 189 w 1117"/>
              <a:gd name="T83" fmla="*/ 897 h 1097"/>
              <a:gd name="T84" fmla="*/ 687 w 1117"/>
              <a:gd name="T85" fmla="*/ 796 h 1097"/>
              <a:gd name="T86" fmla="*/ 652 w 1117"/>
              <a:gd name="T87" fmla="*/ 822 h 1097"/>
              <a:gd name="T88" fmla="*/ 687 w 1117"/>
              <a:gd name="T89" fmla="*/ 816 h 1097"/>
              <a:gd name="T90" fmla="*/ 366 w 1117"/>
              <a:gd name="T91" fmla="*/ 1042 h 1097"/>
              <a:gd name="T92" fmla="*/ 510 w 1117"/>
              <a:gd name="T93" fmla="*/ 784 h 10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117" h="1097">
                <a:moveTo>
                  <a:pt x="1071" y="683"/>
                </a:moveTo>
                <a:cubicBezTo>
                  <a:pt x="1024" y="918"/>
                  <a:pt x="830" y="1072"/>
                  <a:pt x="633" y="1097"/>
                </a:cubicBezTo>
                <a:cubicBezTo>
                  <a:pt x="636" y="1081"/>
                  <a:pt x="638" y="1067"/>
                  <a:pt x="641" y="1052"/>
                </a:cubicBezTo>
                <a:cubicBezTo>
                  <a:pt x="688" y="1043"/>
                  <a:pt x="732" y="1029"/>
                  <a:pt x="775" y="1007"/>
                </a:cubicBezTo>
                <a:cubicBezTo>
                  <a:pt x="768" y="993"/>
                  <a:pt x="761" y="980"/>
                  <a:pt x="753" y="968"/>
                </a:cubicBezTo>
                <a:cubicBezTo>
                  <a:pt x="744" y="954"/>
                  <a:pt x="741" y="939"/>
                  <a:pt x="744" y="922"/>
                </a:cubicBezTo>
                <a:cubicBezTo>
                  <a:pt x="747" y="920"/>
                  <a:pt x="751" y="918"/>
                  <a:pt x="754" y="915"/>
                </a:cubicBezTo>
                <a:cubicBezTo>
                  <a:pt x="766" y="918"/>
                  <a:pt x="776" y="923"/>
                  <a:pt x="782" y="932"/>
                </a:cubicBezTo>
                <a:cubicBezTo>
                  <a:pt x="791" y="945"/>
                  <a:pt x="798" y="959"/>
                  <a:pt x="806" y="972"/>
                </a:cubicBezTo>
                <a:cubicBezTo>
                  <a:pt x="809" y="975"/>
                  <a:pt x="811" y="979"/>
                  <a:pt x="814" y="984"/>
                </a:cubicBezTo>
                <a:cubicBezTo>
                  <a:pt x="873" y="947"/>
                  <a:pt x="920" y="899"/>
                  <a:pt x="959" y="842"/>
                </a:cubicBezTo>
                <a:cubicBezTo>
                  <a:pt x="935" y="823"/>
                  <a:pt x="900" y="816"/>
                  <a:pt x="889" y="783"/>
                </a:cubicBezTo>
                <a:cubicBezTo>
                  <a:pt x="889" y="781"/>
                  <a:pt x="890" y="780"/>
                  <a:pt x="890" y="779"/>
                </a:cubicBezTo>
                <a:cubicBezTo>
                  <a:pt x="891" y="777"/>
                  <a:pt x="892" y="775"/>
                  <a:pt x="893" y="773"/>
                </a:cubicBezTo>
                <a:cubicBezTo>
                  <a:pt x="895" y="772"/>
                  <a:pt x="898" y="771"/>
                  <a:pt x="900" y="770"/>
                </a:cubicBezTo>
                <a:cubicBezTo>
                  <a:pt x="903" y="769"/>
                  <a:pt x="905" y="769"/>
                  <a:pt x="907" y="768"/>
                </a:cubicBezTo>
                <a:cubicBezTo>
                  <a:pt x="936" y="771"/>
                  <a:pt x="957" y="791"/>
                  <a:pt x="982" y="803"/>
                </a:cubicBezTo>
                <a:cubicBezTo>
                  <a:pt x="1011" y="748"/>
                  <a:pt x="1029" y="691"/>
                  <a:pt x="1034" y="628"/>
                </a:cubicBezTo>
                <a:cubicBezTo>
                  <a:pt x="1009" y="627"/>
                  <a:pt x="984" y="627"/>
                  <a:pt x="960" y="627"/>
                </a:cubicBezTo>
                <a:cubicBezTo>
                  <a:pt x="951" y="626"/>
                  <a:pt x="942" y="626"/>
                  <a:pt x="934" y="624"/>
                </a:cubicBezTo>
                <a:cubicBezTo>
                  <a:pt x="909" y="618"/>
                  <a:pt x="897" y="600"/>
                  <a:pt x="899" y="576"/>
                </a:cubicBezTo>
                <a:cubicBezTo>
                  <a:pt x="901" y="558"/>
                  <a:pt x="921" y="540"/>
                  <a:pt x="943" y="539"/>
                </a:cubicBezTo>
                <a:cubicBezTo>
                  <a:pt x="968" y="538"/>
                  <a:pt x="993" y="539"/>
                  <a:pt x="1019" y="539"/>
                </a:cubicBezTo>
                <a:cubicBezTo>
                  <a:pt x="1024" y="539"/>
                  <a:pt x="1029" y="539"/>
                  <a:pt x="1036" y="539"/>
                </a:cubicBezTo>
                <a:cubicBezTo>
                  <a:pt x="1031" y="475"/>
                  <a:pt x="1014" y="417"/>
                  <a:pt x="986" y="361"/>
                </a:cubicBezTo>
                <a:cubicBezTo>
                  <a:pt x="963" y="373"/>
                  <a:pt x="941" y="385"/>
                  <a:pt x="918" y="395"/>
                </a:cubicBezTo>
                <a:cubicBezTo>
                  <a:pt x="913" y="397"/>
                  <a:pt x="905" y="395"/>
                  <a:pt x="896" y="395"/>
                </a:cubicBezTo>
                <a:cubicBezTo>
                  <a:pt x="894" y="393"/>
                  <a:pt x="891" y="390"/>
                  <a:pt x="889" y="389"/>
                </a:cubicBezTo>
                <a:cubicBezTo>
                  <a:pt x="889" y="384"/>
                  <a:pt x="889" y="383"/>
                  <a:pt x="889" y="382"/>
                </a:cubicBezTo>
                <a:cubicBezTo>
                  <a:pt x="894" y="365"/>
                  <a:pt x="906" y="355"/>
                  <a:pt x="920" y="347"/>
                </a:cubicBezTo>
                <a:cubicBezTo>
                  <a:pt x="934" y="339"/>
                  <a:pt x="949" y="330"/>
                  <a:pt x="964" y="322"/>
                </a:cubicBezTo>
                <a:cubicBezTo>
                  <a:pt x="926" y="262"/>
                  <a:pt x="878" y="214"/>
                  <a:pt x="819" y="175"/>
                </a:cubicBezTo>
                <a:cubicBezTo>
                  <a:pt x="810" y="184"/>
                  <a:pt x="805" y="197"/>
                  <a:pt x="798" y="208"/>
                </a:cubicBezTo>
                <a:cubicBezTo>
                  <a:pt x="791" y="218"/>
                  <a:pt x="784" y="229"/>
                  <a:pt x="776" y="238"/>
                </a:cubicBezTo>
                <a:cubicBezTo>
                  <a:pt x="771" y="244"/>
                  <a:pt x="763" y="247"/>
                  <a:pt x="756" y="252"/>
                </a:cubicBezTo>
                <a:cubicBezTo>
                  <a:pt x="751" y="248"/>
                  <a:pt x="748" y="245"/>
                  <a:pt x="745" y="243"/>
                </a:cubicBezTo>
                <a:cubicBezTo>
                  <a:pt x="741" y="226"/>
                  <a:pt x="745" y="211"/>
                  <a:pt x="753" y="196"/>
                </a:cubicBezTo>
                <a:cubicBezTo>
                  <a:pt x="762" y="182"/>
                  <a:pt x="770" y="168"/>
                  <a:pt x="780" y="152"/>
                </a:cubicBezTo>
                <a:cubicBezTo>
                  <a:pt x="724" y="122"/>
                  <a:pt x="665" y="104"/>
                  <a:pt x="600" y="99"/>
                </a:cubicBezTo>
                <a:cubicBezTo>
                  <a:pt x="600" y="112"/>
                  <a:pt x="600" y="123"/>
                  <a:pt x="600" y="134"/>
                </a:cubicBezTo>
                <a:cubicBezTo>
                  <a:pt x="600" y="153"/>
                  <a:pt x="601" y="173"/>
                  <a:pt x="600" y="192"/>
                </a:cubicBezTo>
                <a:cubicBezTo>
                  <a:pt x="599" y="212"/>
                  <a:pt x="591" y="227"/>
                  <a:pt x="572" y="236"/>
                </a:cubicBezTo>
                <a:cubicBezTo>
                  <a:pt x="554" y="244"/>
                  <a:pt x="524" y="234"/>
                  <a:pt x="517" y="213"/>
                </a:cubicBezTo>
                <a:cubicBezTo>
                  <a:pt x="514" y="205"/>
                  <a:pt x="512" y="195"/>
                  <a:pt x="512" y="186"/>
                </a:cubicBezTo>
                <a:cubicBezTo>
                  <a:pt x="512" y="158"/>
                  <a:pt x="512" y="130"/>
                  <a:pt x="512" y="102"/>
                </a:cubicBezTo>
                <a:cubicBezTo>
                  <a:pt x="480" y="95"/>
                  <a:pt x="381" y="123"/>
                  <a:pt x="333" y="152"/>
                </a:cubicBezTo>
                <a:cubicBezTo>
                  <a:pt x="342" y="167"/>
                  <a:pt x="350" y="182"/>
                  <a:pt x="359" y="196"/>
                </a:cubicBezTo>
                <a:cubicBezTo>
                  <a:pt x="368" y="211"/>
                  <a:pt x="372" y="227"/>
                  <a:pt x="367" y="244"/>
                </a:cubicBezTo>
                <a:cubicBezTo>
                  <a:pt x="359" y="253"/>
                  <a:pt x="350" y="250"/>
                  <a:pt x="342" y="244"/>
                </a:cubicBezTo>
                <a:cubicBezTo>
                  <a:pt x="335" y="237"/>
                  <a:pt x="328" y="230"/>
                  <a:pt x="323" y="221"/>
                </a:cubicBezTo>
                <a:cubicBezTo>
                  <a:pt x="313" y="207"/>
                  <a:pt x="304" y="191"/>
                  <a:pt x="294" y="174"/>
                </a:cubicBezTo>
                <a:cubicBezTo>
                  <a:pt x="234" y="213"/>
                  <a:pt x="187" y="262"/>
                  <a:pt x="148" y="322"/>
                </a:cubicBezTo>
                <a:cubicBezTo>
                  <a:pt x="163" y="330"/>
                  <a:pt x="178" y="339"/>
                  <a:pt x="192" y="347"/>
                </a:cubicBezTo>
                <a:cubicBezTo>
                  <a:pt x="207" y="355"/>
                  <a:pt x="220" y="365"/>
                  <a:pt x="224" y="384"/>
                </a:cubicBezTo>
                <a:cubicBezTo>
                  <a:pt x="221" y="387"/>
                  <a:pt x="219" y="391"/>
                  <a:pt x="216" y="395"/>
                </a:cubicBezTo>
                <a:cubicBezTo>
                  <a:pt x="200" y="398"/>
                  <a:pt x="185" y="395"/>
                  <a:pt x="172" y="386"/>
                </a:cubicBezTo>
                <a:cubicBezTo>
                  <a:pt x="157" y="377"/>
                  <a:pt x="142" y="369"/>
                  <a:pt x="126" y="360"/>
                </a:cubicBezTo>
                <a:cubicBezTo>
                  <a:pt x="98" y="417"/>
                  <a:pt x="81" y="475"/>
                  <a:pt x="76" y="538"/>
                </a:cubicBezTo>
                <a:cubicBezTo>
                  <a:pt x="110" y="538"/>
                  <a:pt x="143" y="538"/>
                  <a:pt x="177" y="538"/>
                </a:cubicBezTo>
                <a:cubicBezTo>
                  <a:pt x="187" y="544"/>
                  <a:pt x="197" y="551"/>
                  <a:pt x="206" y="557"/>
                </a:cubicBezTo>
                <a:cubicBezTo>
                  <a:pt x="218" y="596"/>
                  <a:pt x="212" y="609"/>
                  <a:pt x="176" y="627"/>
                </a:cubicBezTo>
                <a:cubicBezTo>
                  <a:pt x="143" y="627"/>
                  <a:pt x="110" y="627"/>
                  <a:pt x="78" y="627"/>
                </a:cubicBezTo>
                <a:cubicBezTo>
                  <a:pt x="81" y="670"/>
                  <a:pt x="92" y="709"/>
                  <a:pt x="105" y="749"/>
                </a:cubicBezTo>
                <a:cubicBezTo>
                  <a:pt x="92" y="755"/>
                  <a:pt x="80" y="762"/>
                  <a:pt x="68" y="768"/>
                </a:cubicBezTo>
                <a:cubicBezTo>
                  <a:pt x="0" y="614"/>
                  <a:pt x="19" y="379"/>
                  <a:pt x="175" y="216"/>
                </a:cubicBezTo>
                <a:cubicBezTo>
                  <a:pt x="340" y="43"/>
                  <a:pt x="601" y="0"/>
                  <a:pt x="812" y="119"/>
                </a:cubicBezTo>
                <a:cubicBezTo>
                  <a:pt x="1015" y="234"/>
                  <a:pt x="1117" y="454"/>
                  <a:pt x="1071" y="683"/>
                </a:cubicBezTo>
                <a:close/>
                <a:moveTo>
                  <a:pt x="489" y="633"/>
                </a:moveTo>
                <a:cubicBezTo>
                  <a:pt x="502" y="651"/>
                  <a:pt x="521" y="659"/>
                  <a:pt x="542" y="663"/>
                </a:cubicBezTo>
                <a:cubicBezTo>
                  <a:pt x="571" y="667"/>
                  <a:pt x="596" y="658"/>
                  <a:pt x="617" y="638"/>
                </a:cubicBezTo>
                <a:cubicBezTo>
                  <a:pt x="632" y="646"/>
                  <a:pt x="646" y="652"/>
                  <a:pt x="660" y="660"/>
                </a:cubicBezTo>
                <a:cubicBezTo>
                  <a:pt x="700" y="681"/>
                  <a:pt x="739" y="702"/>
                  <a:pt x="778" y="723"/>
                </a:cubicBezTo>
                <a:cubicBezTo>
                  <a:pt x="800" y="735"/>
                  <a:pt x="824" y="745"/>
                  <a:pt x="851" y="738"/>
                </a:cubicBezTo>
                <a:cubicBezTo>
                  <a:pt x="853" y="735"/>
                  <a:pt x="856" y="731"/>
                  <a:pt x="856" y="728"/>
                </a:cubicBezTo>
                <a:cubicBezTo>
                  <a:pt x="855" y="723"/>
                  <a:pt x="853" y="716"/>
                  <a:pt x="850" y="712"/>
                </a:cubicBezTo>
                <a:cubicBezTo>
                  <a:pt x="839" y="697"/>
                  <a:pt x="824" y="687"/>
                  <a:pt x="808" y="678"/>
                </a:cubicBezTo>
                <a:cubicBezTo>
                  <a:pt x="779" y="663"/>
                  <a:pt x="749" y="647"/>
                  <a:pt x="720" y="631"/>
                </a:cubicBezTo>
                <a:cubicBezTo>
                  <a:pt x="699" y="620"/>
                  <a:pt x="677" y="608"/>
                  <a:pt x="655" y="596"/>
                </a:cubicBezTo>
                <a:cubicBezTo>
                  <a:pt x="651" y="594"/>
                  <a:pt x="647" y="591"/>
                  <a:pt x="642" y="588"/>
                </a:cubicBezTo>
                <a:cubicBezTo>
                  <a:pt x="644" y="570"/>
                  <a:pt x="640" y="554"/>
                  <a:pt x="632" y="540"/>
                </a:cubicBezTo>
                <a:cubicBezTo>
                  <a:pt x="624" y="526"/>
                  <a:pt x="612" y="514"/>
                  <a:pt x="600" y="499"/>
                </a:cubicBezTo>
                <a:cubicBezTo>
                  <a:pt x="600" y="496"/>
                  <a:pt x="600" y="489"/>
                  <a:pt x="600" y="483"/>
                </a:cubicBezTo>
                <a:cubicBezTo>
                  <a:pt x="600" y="453"/>
                  <a:pt x="600" y="424"/>
                  <a:pt x="600" y="395"/>
                </a:cubicBezTo>
                <a:cubicBezTo>
                  <a:pt x="600" y="366"/>
                  <a:pt x="590" y="353"/>
                  <a:pt x="563" y="345"/>
                </a:cubicBezTo>
                <a:cubicBezTo>
                  <a:pt x="561" y="344"/>
                  <a:pt x="558" y="344"/>
                  <a:pt x="557" y="343"/>
                </a:cubicBezTo>
                <a:cubicBezTo>
                  <a:pt x="525" y="347"/>
                  <a:pt x="511" y="369"/>
                  <a:pt x="512" y="397"/>
                </a:cubicBezTo>
                <a:cubicBezTo>
                  <a:pt x="513" y="433"/>
                  <a:pt x="512" y="468"/>
                  <a:pt x="512" y="503"/>
                </a:cubicBezTo>
                <a:cubicBezTo>
                  <a:pt x="463" y="540"/>
                  <a:pt x="461" y="592"/>
                  <a:pt x="489" y="633"/>
                </a:cubicBezTo>
                <a:close/>
                <a:moveTo>
                  <a:pt x="375" y="963"/>
                </a:moveTo>
                <a:cubicBezTo>
                  <a:pt x="365" y="964"/>
                  <a:pt x="356" y="964"/>
                  <a:pt x="345" y="965"/>
                </a:cubicBezTo>
                <a:cubicBezTo>
                  <a:pt x="337" y="984"/>
                  <a:pt x="338" y="1006"/>
                  <a:pt x="330" y="1027"/>
                </a:cubicBezTo>
                <a:cubicBezTo>
                  <a:pt x="323" y="1027"/>
                  <a:pt x="314" y="1027"/>
                  <a:pt x="305" y="1027"/>
                </a:cubicBezTo>
                <a:cubicBezTo>
                  <a:pt x="300" y="1006"/>
                  <a:pt x="313" y="987"/>
                  <a:pt x="311" y="966"/>
                </a:cubicBezTo>
                <a:cubicBezTo>
                  <a:pt x="296" y="962"/>
                  <a:pt x="280" y="965"/>
                  <a:pt x="264" y="964"/>
                </a:cubicBezTo>
                <a:cubicBezTo>
                  <a:pt x="249" y="964"/>
                  <a:pt x="233" y="964"/>
                  <a:pt x="216" y="964"/>
                </a:cubicBezTo>
                <a:cubicBezTo>
                  <a:pt x="216" y="957"/>
                  <a:pt x="216" y="952"/>
                  <a:pt x="216" y="945"/>
                </a:cubicBezTo>
                <a:cubicBezTo>
                  <a:pt x="257" y="896"/>
                  <a:pt x="299" y="846"/>
                  <a:pt x="342" y="795"/>
                </a:cubicBezTo>
                <a:cubicBezTo>
                  <a:pt x="353" y="795"/>
                  <a:pt x="363" y="795"/>
                  <a:pt x="375" y="795"/>
                </a:cubicBezTo>
                <a:cubicBezTo>
                  <a:pt x="366" y="843"/>
                  <a:pt x="357" y="890"/>
                  <a:pt x="348" y="938"/>
                </a:cubicBezTo>
                <a:cubicBezTo>
                  <a:pt x="359" y="939"/>
                  <a:pt x="369" y="939"/>
                  <a:pt x="379" y="940"/>
                </a:cubicBezTo>
                <a:cubicBezTo>
                  <a:pt x="378" y="949"/>
                  <a:pt x="376" y="955"/>
                  <a:pt x="375" y="963"/>
                </a:cubicBezTo>
                <a:close/>
                <a:moveTo>
                  <a:pt x="339" y="834"/>
                </a:moveTo>
                <a:cubicBezTo>
                  <a:pt x="311" y="869"/>
                  <a:pt x="283" y="903"/>
                  <a:pt x="254" y="938"/>
                </a:cubicBezTo>
                <a:cubicBezTo>
                  <a:pt x="276" y="938"/>
                  <a:pt x="297" y="938"/>
                  <a:pt x="318" y="938"/>
                </a:cubicBezTo>
                <a:cubicBezTo>
                  <a:pt x="325" y="903"/>
                  <a:pt x="332" y="869"/>
                  <a:pt x="339" y="834"/>
                </a:cubicBezTo>
                <a:close/>
                <a:moveTo>
                  <a:pt x="169" y="796"/>
                </a:moveTo>
                <a:cubicBezTo>
                  <a:pt x="136" y="784"/>
                  <a:pt x="107" y="794"/>
                  <a:pt x="78" y="813"/>
                </a:cubicBezTo>
                <a:cubicBezTo>
                  <a:pt x="81" y="820"/>
                  <a:pt x="83" y="826"/>
                  <a:pt x="86" y="833"/>
                </a:cubicBezTo>
                <a:cubicBezTo>
                  <a:pt x="95" y="829"/>
                  <a:pt x="103" y="826"/>
                  <a:pt x="111" y="823"/>
                </a:cubicBezTo>
                <a:cubicBezTo>
                  <a:pt x="141" y="811"/>
                  <a:pt x="161" y="820"/>
                  <a:pt x="171" y="850"/>
                </a:cubicBezTo>
                <a:cubicBezTo>
                  <a:pt x="171" y="850"/>
                  <a:pt x="171" y="850"/>
                  <a:pt x="171" y="850"/>
                </a:cubicBezTo>
                <a:cubicBezTo>
                  <a:pt x="171" y="850"/>
                  <a:pt x="171" y="850"/>
                  <a:pt x="171" y="850"/>
                </a:cubicBezTo>
                <a:cubicBezTo>
                  <a:pt x="171" y="850"/>
                  <a:pt x="171" y="850"/>
                  <a:pt x="171" y="850"/>
                </a:cubicBezTo>
                <a:cubicBezTo>
                  <a:pt x="171" y="851"/>
                  <a:pt x="171" y="852"/>
                  <a:pt x="171" y="850"/>
                </a:cubicBezTo>
                <a:cubicBezTo>
                  <a:pt x="171" y="850"/>
                  <a:pt x="171" y="850"/>
                  <a:pt x="171" y="850"/>
                </a:cubicBezTo>
                <a:cubicBezTo>
                  <a:pt x="169" y="877"/>
                  <a:pt x="157" y="897"/>
                  <a:pt x="142" y="914"/>
                </a:cubicBezTo>
                <a:cubicBezTo>
                  <a:pt x="129" y="928"/>
                  <a:pt x="115" y="941"/>
                  <a:pt x="101" y="954"/>
                </a:cubicBezTo>
                <a:cubicBezTo>
                  <a:pt x="80" y="973"/>
                  <a:pt x="58" y="990"/>
                  <a:pt x="37" y="1008"/>
                </a:cubicBezTo>
                <a:cubicBezTo>
                  <a:pt x="36" y="1015"/>
                  <a:pt x="35" y="1021"/>
                  <a:pt x="34" y="1028"/>
                </a:cubicBezTo>
                <a:cubicBezTo>
                  <a:pt x="52" y="1028"/>
                  <a:pt x="67" y="1028"/>
                  <a:pt x="82" y="1028"/>
                </a:cubicBezTo>
                <a:cubicBezTo>
                  <a:pt x="98" y="1028"/>
                  <a:pt x="114" y="1028"/>
                  <a:pt x="130" y="1028"/>
                </a:cubicBezTo>
                <a:cubicBezTo>
                  <a:pt x="145" y="1028"/>
                  <a:pt x="160" y="1028"/>
                  <a:pt x="175" y="1028"/>
                </a:cubicBezTo>
                <a:cubicBezTo>
                  <a:pt x="177" y="1018"/>
                  <a:pt x="178" y="1012"/>
                  <a:pt x="180" y="1003"/>
                </a:cubicBezTo>
                <a:cubicBezTo>
                  <a:pt x="148" y="1003"/>
                  <a:pt x="117" y="1003"/>
                  <a:pt x="83" y="1003"/>
                </a:cubicBezTo>
                <a:cubicBezTo>
                  <a:pt x="96" y="992"/>
                  <a:pt x="107" y="983"/>
                  <a:pt x="118" y="974"/>
                </a:cubicBezTo>
                <a:cubicBezTo>
                  <a:pt x="144" y="951"/>
                  <a:pt x="171" y="928"/>
                  <a:pt x="189" y="897"/>
                </a:cubicBezTo>
                <a:cubicBezTo>
                  <a:pt x="200" y="877"/>
                  <a:pt x="206" y="857"/>
                  <a:pt x="201" y="834"/>
                </a:cubicBezTo>
                <a:cubicBezTo>
                  <a:pt x="196" y="816"/>
                  <a:pt x="186" y="802"/>
                  <a:pt x="169" y="796"/>
                </a:cubicBezTo>
                <a:close/>
                <a:moveTo>
                  <a:pt x="687" y="796"/>
                </a:moveTo>
                <a:cubicBezTo>
                  <a:pt x="650" y="793"/>
                  <a:pt x="565" y="794"/>
                  <a:pt x="549" y="798"/>
                </a:cubicBezTo>
                <a:cubicBezTo>
                  <a:pt x="549" y="805"/>
                  <a:pt x="548" y="813"/>
                  <a:pt x="547" y="822"/>
                </a:cubicBezTo>
                <a:cubicBezTo>
                  <a:pt x="582" y="822"/>
                  <a:pt x="616" y="822"/>
                  <a:pt x="652" y="822"/>
                </a:cubicBezTo>
                <a:cubicBezTo>
                  <a:pt x="607" y="892"/>
                  <a:pt x="563" y="958"/>
                  <a:pt x="518" y="1027"/>
                </a:cubicBezTo>
                <a:cubicBezTo>
                  <a:pt x="531" y="1027"/>
                  <a:pt x="541" y="1027"/>
                  <a:pt x="553" y="1027"/>
                </a:cubicBezTo>
                <a:cubicBezTo>
                  <a:pt x="598" y="957"/>
                  <a:pt x="643" y="886"/>
                  <a:pt x="687" y="816"/>
                </a:cubicBezTo>
                <a:cubicBezTo>
                  <a:pt x="687" y="809"/>
                  <a:pt x="687" y="802"/>
                  <a:pt x="687" y="796"/>
                </a:cubicBezTo>
                <a:close/>
                <a:moveTo>
                  <a:pt x="510" y="784"/>
                </a:moveTo>
                <a:cubicBezTo>
                  <a:pt x="462" y="869"/>
                  <a:pt x="415" y="955"/>
                  <a:pt x="366" y="1042"/>
                </a:cubicBezTo>
                <a:cubicBezTo>
                  <a:pt x="376" y="1042"/>
                  <a:pt x="384" y="1042"/>
                  <a:pt x="392" y="1042"/>
                </a:cubicBezTo>
                <a:cubicBezTo>
                  <a:pt x="440" y="956"/>
                  <a:pt x="487" y="871"/>
                  <a:pt x="535" y="784"/>
                </a:cubicBezTo>
                <a:cubicBezTo>
                  <a:pt x="526" y="784"/>
                  <a:pt x="518" y="784"/>
                  <a:pt x="510" y="78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77" tIns="45738" rIns="91477" bIns="45738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" name="Freeform 11"/>
          <p:cNvSpPr>
            <a:spLocks noEditPoints="1"/>
          </p:cNvSpPr>
          <p:nvPr/>
        </p:nvSpPr>
        <p:spPr bwMode="gray">
          <a:xfrm>
            <a:off x="5809286" y="1470153"/>
            <a:ext cx="1029787" cy="900588"/>
          </a:xfrm>
          <a:custGeom>
            <a:avLst/>
            <a:gdLst>
              <a:gd name="T0" fmla="*/ 1146 w 1149"/>
              <a:gd name="T1" fmla="*/ 371 h 1005"/>
              <a:gd name="T2" fmla="*/ 919 w 1149"/>
              <a:gd name="T3" fmla="*/ 710 h 1005"/>
              <a:gd name="T4" fmla="*/ 951 w 1149"/>
              <a:gd name="T5" fmla="*/ 780 h 1005"/>
              <a:gd name="T6" fmla="*/ 845 w 1149"/>
              <a:gd name="T7" fmla="*/ 761 h 1005"/>
              <a:gd name="T8" fmla="*/ 766 w 1149"/>
              <a:gd name="T9" fmla="*/ 717 h 1005"/>
              <a:gd name="T10" fmla="*/ 817 w 1149"/>
              <a:gd name="T11" fmla="*/ 825 h 1005"/>
              <a:gd name="T12" fmla="*/ 679 w 1149"/>
              <a:gd name="T13" fmla="*/ 796 h 1005"/>
              <a:gd name="T14" fmla="*/ 693 w 1149"/>
              <a:gd name="T15" fmla="*/ 738 h 1005"/>
              <a:gd name="T16" fmla="*/ 676 w 1149"/>
              <a:gd name="T17" fmla="*/ 653 h 1005"/>
              <a:gd name="T18" fmla="*/ 650 w 1149"/>
              <a:gd name="T19" fmla="*/ 938 h 1005"/>
              <a:gd name="T20" fmla="*/ 536 w 1149"/>
              <a:gd name="T21" fmla="*/ 858 h 1005"/>
              <a:gd name="T22" fmla="*/ 504 w 1149"/>
              <a:gd name="T23" fmla="*/ 843 h 1005"/>
              <a:gd name="T24" fmla="*/ 480 w 1149"/>
              <a:gd name="T25" fmla="*/ 1000 h 1005"/>
              <a:gd name="T26" fmla="*/ 336 w 1149"/>
              <a:gd name="T27" fmla="*/ 867 h 1005"/>
              <a:gd name="T28" fmla="*/ 272 w 1149"/>
              <a:gd name="T29" fmla="*/ 931 h 1005"/>
              <a:gd name="T30" fmla="*/ 272 w 1149"/>
              <a:gd name="T31" fmla="*/ 931 h 1005"/>
              <a:gd name="T32" fmla="*/ 226 w 1149"/>
              <a:gd name="T33" fmla="*/ 942 h 1005"/>
              <a:gd name="T34" fmla="*/ 164 w 1149"/>
              <a:gd name="T35" fmla="*/ 666 h 1005"/>
              <a:gd name="T36" fmla="*/ 227 w 1149"/>
              <a:gd name="T37" fmla="*/ 661 h 1005"/>
              <a:gd name="T38" fmla="*/ 423 w 1149"/>
              <a:gd name="T39" fmla="*/ 642 h 1005"/>
              <a:gd name="T40" fmla="*/ 618 w 1149"/>
              <a:gd name="T41" fmla="*/ 372 h 1005"/>
              <a:gd name="T42" fmla="*/ 627 w 1149"/>
              <a:gd name="T43" fmla="*/ 399 h 1005"/>
              <a:gd name="T44" fmla="*/ 782 w 1149"/>
              <a:gd name="T45" fmla="*/ 395 h 1005"/>
              <a:gd name="T46" fmla="*/ 829 w 1149"/>
              <a:gd name="T47" fmla="*/ 371 h 1005"/>
              <a:gd name="T48" fmla="*/ 848 w 1149"/>
              <a:gd name="T49" fmla="*/ 396 h 1005"/>
              <a:gd name="T50" fmla="*/ 731 w 1149"/>
              <a:gd name="T51" fmla="*/ 573 h 1005"/>
              <a:gd name="T52" fmla="*/ 828 w 1149"/>
              <a:gd name="T53" fmla="*/ 543 h 1005"/>
              <a:gd name="T54" fmla="*/ 916 w 1149"/>
              <a:gd name="T55" fmla="*/ 405 h 1005"/>
              <a:gd name="T56" fmla="*/ 967 w 1149"/>
              <a:gd name="T57" fmla="*/ 349 h 1005"/>
              <a:gd name="T58" fmla="*/ 1104 w 1149"/>
              <a:gd name="T59" fmla="*/ 366 h 1005"/>
              <a:gd name="T60" fmla="*/ 1149 w 1149"/>
              <a:gd name="T61" fmla="*/ 350 h 1005"/>
              <a:gd name="T62" fmla="*/ 225 w 1149"/>
              <a:gd name="T63" fmla="*/ 145 h 1005"/>
              <a:gd name="T64" fmla="*/ 226 w 1149"/>
              <a:gd name="T65" fmla="*/ 311 h 1005"/>
              <a:gd name="T66" fmla="*/ 179 w 1149"/>
              <a:gd name="T67" fmla="*/ 145 h 1005"/>
              <a:gd name="T68" fmla="*/ 179 w 1149"/>
              <a:gd name="T69" fmla="*/ 145 h 1005"/>
              <a:gd name="T70" fmla="*/ 431 w 1149"/>
              <a:gd name="T71" fmla="*/ 122 h 1005"/>
              <a:gd name="T72" fmla="*/ 139 w 1149"/>
              <a:gd name="T73" fmla="*/ 179 h 1005"/>
              <a:gd name="T74" fmla="*/ 139 w 1149"/>
              <a:gd name="T75" fmla="*/ 179 h 1005"/>
              <a:gd name="T76" fmla="*/ 0 w 1149"/>
              <a:gd name="T77" fmla="*/ 228 h 1005"/>
              <a:gd name="T78" fmla="*/ 226 w 1149"/>
              <a:gd name="T79" fmla="*/ 133 h 1005"/>
              <a:gd name="T80" fmla="*/ 226 w 1149"/>
              <a:gd name="T81" fmla="*/ 133 h 1005"/>
              <a:gd name="T82" fmla="*/ 274 w 1149"/>
              <a:gd name="T83" fmla="*/ 144 h 1005"/>
              <a:gd name="T84" fmla="*/ 318 w 1149"/>
              <a:gd name="T85" fmla="*/ 227 h 1005"/>
              <a:gd name="T86" fmla="*/ 318 w 1149"/>
              <a:gd name="T87" fmla="*/ 227 h 1005"/>
              <a:gd name="T88" fmla="*/ 429 w 1149"/>
              <a:gd name="T89" fmla="*/ 331 h 1005"/>
              <a:gd name="T90" fmla="*/ 361 w 1149"/>
              <a:gd name="T91" fmla="*/ 410 h 1005"/>
              <a:gd name="T92" fmla="*/ 361 w 1149"/>
              <a:gd name="T93" fmla="*/ 410 h 1005"/>
              <a:gd name="T94" fmla="*/ 105 w 1149"/>
              <a:gd name="T95" fmla="*/ 428 h 1005"/>
              <a:gd name="T96" fmla="*/ 226 w 1149"/>
              <a:gd name="T97" fmla="*/ 456 h 1005"/>
              <a:gd name="T98" fmla="*/ 226 w 1149"/>
              <a:gd name="T99" fmla="*/ 456 h 1005"/>
              <a:gd name="T100" fmla="*/ 30 w 1149"/>
              <a:gd name="T101" fmla="*/ 345 h 1005"/>
              <a:gd name="T102" fmla="*/ 281 w 1149"/>
              <a:gd name="T103" fmla="*/ 935 h 1005"/>
              <a:gd name="T104" fmla="*/ 280 w 1149"/>
              <a:gd name="T105" fmla="*/ 937 h 10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149" h="1005">
                <a:moveTo>
                  <a:pt x="1149" y="350"/>
                </a:moveTo>
                <a:cubicBezTo>
                  <a:pt x="1148" y="357"/>
                  <a:pt x="1149" y="366"/>
                  <a:pt x="1146" y="371"/>
                </a:cubicBezTo>
                <a:cubicBezTo>
                  <a:pt x="1105" y="432"/>
                  <a:pt x="1063" y="493"/>
                  <a:pt x="1022" y="553"/>
                </a:cubicBezTo>
                <a:cubicBezTo>
                  <a:pt x="988" y="605"/>
                  <a:pt x="954" y="657"/>
                  <a:pt x="919" y="710"/>
                </a:cubicBezTo>
                <a:cubicBezTo>
                  <a:pt x="942" y="736"/>
                  <a:pt x="966" y="762"/>
                  <a:pt x="991" y="790"/>
                </a:cubicBezTo>
                <a:cubicBezTo>
                  <a:pt x="974" y="796"/>
                  <a:pt x="962" y="794"/>
                  <a:pt x="951" y="780"/>
                </a:cubicBezTo>
                <a:cubicBezTo>
                  <a:pt x="936" y="763"/>
                  <a:pt x="920" y="746"/>
                  <a:pt x="904" y="729"/>
                </a:cubicBezTo>
                <a:cubicBezTo>
                  <a:pt x="884" y="741"/>
                  <a:pt x="878" y="774"/>
                  <a:pt x="845" y="761"/>
                </a:cubicBezTo>
                <a:cubicBezTo>
                  <a:pt x="855" y="747"/>
                  <a:pt x="866" y="733"/>
                  <a:pt x="878" y="717"/>
                </a:cubicBezTo>
                <a:cubicBezTo>
                  <a:pt x="840" y="717"/>
                  <a:pt x="805" y="717"/>
                  <a:pt x="766" y="717"/>
                </a:cubicBezTo>
                <a:cubicBezTo>
                  <a:pt x="798" y="759"/>
                  <a:pt x="829" y="799"/>
                  <a:pt x="861" y="840"/>
                </a:cubicBezTo>
                <a:cubicBezTo>
                  <a:pt x="842" y="844"/>
                  <a:pt x="829" y="842"/>
                  <a:pt x="817" y="825"/>
                </a:cubicBezTo>
                <a:cubicBezTo>
                  <a:pt x="793" y="791"/>
                  <a:pt x="765" y="758"/>
                  <a:pt x="738" y="723"/>
                </a:cubicBezTo>
                <a:cubicBezTo>
                  <a:pt x="717" y="748"/>
                  <a:pt x="695" y="771"/>
                  <a:pt x="679" y="796"/>
                </a:cubicBezTo>
                <a:cubicBezTo>
                  <a:pt x="668" y="814"/>
                  <a:pt x="657" y="816"/>
                  <a:pt x="637" y="811"/>
                </a:cubicBezTo>
                <a:cubicBezTo>
                  <a:pt x="656" y="786"/>
                  <a:pt x="674" y="762"/>
                  <a:pt x="693" y="738"/>
                </a:cubicBezTo>
                <a:cubicBezTo>
                  <a:pt x="719" y="705"/>
                  <a:pt x="719" y="705"/>
                  <a:pt x="691" y="671"/>
                </a:cubicBezTo>
                <a:cubicBezTo>
                  <a:pt x="687" y="666"/>
                  <a:pt x="682" y="660"/>
                  <a:pt x="676" y="653"/>
                </a:cubicBezTo>
                <a:cubicBezTo>
                  <a:pt x="635" y="713"/>
                  <a:pt x="595" y="772"/>
                  <a:pt x="555" y="833"/>
                </a:cubicBezTo>
                <a:cubicBezTo>
                  <a:pt x="586" y="867"/>
                  <a:pt x="617" y="902"/>
                  <a:pt x="650" y="938"/>
                </a:cubicBezTo>
                <a:cubicBezTo>
                  <a:pt x="629" y="942"/>
                  <a:pt x="612" y="943"/>
                  <a:pt x="597" y="925"/>
                </a:cubicBezTo>
                <a:cubicBezTo>
                  <a:pt x="579" y="902"/>
                  <a:pt x="557" y="881"/>
                  <a:pt x="536" y="858"/>
                </a:cubicBezTo>
                <a:cubicBezTo>
                  <a:pt x="509" y="874"/>
                  <a:pt x="501" y="921"/>
                  <a:pt x="454" y="905"/>
                </a:cubicBezTo>
                <a:cubicBezTo>
                  <a:pt x="470" y="885"/>
                  <a:pt x="486" y="865"/>
                  <a:pt x="504" y="843"/>
                </a:cubicBezTo>
                <a:cubicBezTo>
                  <a:pt x="454" y="843"/>
                  <a:pt x="407" y="843"/>
                  <a:pt x="356" y="843"/>
                </a:cubicBezTo>
                <a:cubicBezTo>
                  <a:pt x="398" y="897"/>
                  <a:pt x="439" y="947"/>
                  <a:pt x="480" y="1000"/>
                </a:cubicBezTo>
                <a:cubicBezTo>
                  <a:pt x="459" y="1005"/>
                  <a:pt x="444" y="1005"/>
                  <a:pt x="430" y="987"/>
                </a:cubicBezTo>
                <a:cubicBezTo>
                  <a:pt x="400" y="946"/>
                  <a:pt x="367" y="907"/>
                  <a:pt x="336" y="867"/>
                </a:cubicBezTo>
                <a:cubicBezTo>
                  <a:pt x="332" y="862"/>
                  <a:pt x="328" y="857"/>
                  <a:pt x="321" y="850"/>
                </a:cubicBezTo>
                <a:cubicBezTo>
                  <a:pt x="304" y="878"/>
                  <a:pt x="288" y="904"/>
                  <a:pt x="272" y="931"/>
                </a:cubicBezTo>
                <a:cubicBezTo>
                  <a:pt x="273" y="931"/>
                  <a:pt x="273" y="932"/>
                  <a:pt x="274" y="932"/>
                </a:cubicBezTo>
                <a:cubicBezTo>
                  <a:pt x="273" y="932"/>
                  <a:pt x="273" y="931"/>
                  <a:pt x="272" y="931"/>
                </a:cubicBezTo>
                <a:cubicBezTo>
                  <a:pt x="272" y="931"/>
                  <a:pt x="272" y="931"/>
                  <a:pt x="272" y="931"/>
                </a:cubicBezTo>
                <a:cubicBezTo>
                  <a:pt x="263" y="950"/>
                  <a:pt x="246" y="945"/>
                  <a:pt x="226" y="942"/>
                </a:cubicBezTo>
                <a:cubicBezTo>
                  <a:pt x="251" y="903"/>
                  <a:pt x="275" y="865"/>
                  <a:pt x="300" y="826"/>
                </a:cubicBezTo>
                <a:cubicBezTo>
                  <a:pt x="254" y="773"/>
                  <a:pt x="209" y="720"/>
                  <a:pt x="164" y="666"/>
                </a:cubicBezTo>
                <a:cubicBezTo>
                  <a:pt x="165" y="665"/>
                  <a:pt x="165" y="663"/>
                  <a:pt x="166" y="661"/>
                </a:cubicBezTo>
                <a:cubicBezTo>
                  <a:pt x="186" y="661"/>
                  <a:pt x="207" y="661"/>
                  <a:pt x="227" y="661"/>
                </a:cubicBezTo>
                <a:cubicBezTo>
                  <a:pt x="282" y="660"/>
                  <a:pt x="336" y="660"/>
                  <a:pt x="391" y="659"/>
                </a:cubicBezTo>
                <a:cubicBezTo>
                  <a:pt x="405" y="659"/>
                  <a:pt x="415" y="656"/>
                  <a:pt x="423" y="642"/>
                </a:cubicBezTo>
                <a:cubicBezTo>
                  <a:pt x="477" y="556"/>
                  <a:pt x="533" y="471"/>
                  <a:pt x="588" y="386"/>
                </a:cubicBezTo>
                <a:cubicBezTo>
                  <a:pt x="596" y="373"/>
                  <a:pt x="605" y="366"/>
                  <a:pt x="618" y="372"/>
                </a:cubicBezTo>
                <a:cubicBezTo>
                  <a:pt x="625" y="375"/>
                  <a:pt x="627" y="387"/>
                  <a:pt x="631" y="396"/>
                </a:cubicBezTo>
                <a:cubicBezTo>
                  <a:pt x="630" y="397"/>
                  <a:pt x="628" y="398"/>
                  <a:pt x="627" y="399"/>
                </a:cubicBezTo>
                <a:cubicBezTo>
                  <a:pt x="632" y="400"/>
                  <a:pt x="637" y="401"/>
                  <a:pt x="642" y="400"/>
                </a:cubicBezTo>
                <a:cubicBezTo>
                  <a:pt x="689" y="399"/>
                  <a:pt x="735" y="398"/>
                  <a:pt x="782" y="395"/>
                </a:cubicBezTo>
                <a:cubicBezTo>
                  <a:pt x="792" y="394"/>
                  <a:pt x="802" y="386"/>
                  <a:pt x="812" y="381"/>
                </a:cubicBezTo>
                <a:cubicBezTo>
                  <a:pt x="818" y="378"/>
                  <a:pt x="823" y="372"/>
                  <a:pt x="829" y="371"/>
                </a:cubicBezTo>
                <a:cubicBezTo>
                  <a:pt x="836" y="369"/>
                  <a:pt x="846" y="370"/>
                  <a:pt x="850" y="375"/>
                </a:cubicBezTo>
                <a:cubicBezTo>
                  <a:pt x="854" y="378"/>
                  <a:pt x="852" y="390"/>
                  <a:pt x="848" y="396"/>
                </a:cubicBezTo>
                <a:cubicBezTo>
                  <a:pt x="825" y="432"/>
                  <a:pt x="800" y="468"/>
                  <a:pt x="776" y="503"/>
                </a:cubicBezTo>
                <a:cubicBezTo>
                  <a:pt x="761" y="526"/>
                  <a:pt x="747" y="549"/>
                  <a:pt x="731" y="573"/>
                </a:cubicBezTo>
                <a:cubicBezTo>
                  <a:pt x="755" y="573"/>
                  <a:pt x="779" y="576"/>
                  <a:pt x="801" y="572"/>
                </a:cubicBezTo>
                <a:cubicBezTo>
                  <a:pt x="811" y="570"/>
                  <a:pt x="819" y="553"/>
                  <a:pt x="828" y="543"/>
                </a:cubicBezTo>
                <a:cubicBezTo>
                  <a:pt x="828" y="543"/>
                  <a:pt x="828" y="543"/>
                  <a:pt x="828" y="543"/>
                </a:cubicBezTo>
                <a:cubicBezTo>
                  <a:pt x="857" y="497"/>
                  <a:pt x="887" y="451"/>
                  <a:pt x="916" y="405"/>
                </a:cubicBezTo>
                <a:cubicBezTo>
                  <a:pt x="925" y="391"/>
                  <a:pt x="934" y="378"/>
                  <a:pt x="942" y="363"/>
                </a:cubicBezTo>
                <a:cubicBezTo>
                  <a:pt x="948" y="353"/>
                  <a:pt x="955" y="344"/>
                  <a:pt x="967" y="349"/>
                </a:cubicBezTo>
                <a:cubicBezTo>
                  <a:pt x="973" y="352"/>
                  <a:pt x="975" y="361"/>
                  <a:pt x="979" y="367"/>
                </a:cubicBezTo>
                <a:cubicBezTo>
                  <a:pt x="1019" y="367"/>
                  <a:pt x="1062" y="367"/>
                  <a:pt x="1104" y="366"/>
                </a:cubicBezTo>
                <a:cubicBezTo>
                  <a:pt x="1110" y="366"/>
                  <a:pt x="1116" y="356"/>
                  <a:pt x="1123" y="353"/>
                </a:cubicBezTo>
                <a:cubicBezTo>
                  <a:pt x="1131" y="350"/>
                  <a:pt x="1140" y="351"/>
                  <a:pt x="1149" y="350"/>
                </a:cubicBezTo>
                <a:close/>
                <a:moveTo>
                  <a:pt x="308" y="230"/>
                </a:moveTo>
                <a:cubicBezTo>
                  <a:pt x="308" y="182"/>
                  <a:pt x="271" y="145"/>
                  <a:pt x="225" y="145"/>
                </a:cubicBezTo>
                <a:cubicBezTo>
                  <a:pt x="180" y="146"/>
                  <a:pt x="144" y="182"/>
                  <a:pt x="144" y="227"/>
                </a:cubicBezTo>
                <a:cubicBezTo>
                  <a:pt x="144" y="273"/>
                  <a:pt x="181" y="311"/>
                  <a:pt x="226" y="311"/>
                </a:cubicBezTo>
                <a:cubicBezTo>
                  <a:pt x="271" y="310"/>
                  <a:pt x="307" y="274"/>
                  <a:pt x="308" y="230"/>
                </a:cubicBezTo>
                <a:close/>
                <a:moveTo>
                  <a:pt x="179" y="145"/>
                </a:moveTo>
                <a:cubicBezTo>
                  <a:pt x="182" y="85"/>
                  <a:pt x="132" y="63"/>
                  <a:pt x="106" y="27"/>
                </a:cubicBezTo>
                <a:cubicBezTo>
                  <a:pt x="126" y="67"/>
                  <a:pt x="124" y="121"/>
                  <a:pt x="179" y="145"/>
                </a:cubicBezTo>
                <a:close/>
                <a:moveTo>
                  <a:pt x="306" y="171"/>
                </a:moveTo>
                <a:cubicBezTo>
                  <a:pt x="362" y="185"/>
                  <a:pt x="392" y="142"/>
                  <a:pt x="431" y="122"/>
                </a:cubicBezTo>
                <a:cubicBezTo>
                  <a:pt x="389" y="134"/>
                  <a:pt x="338" y="122"/>
                  <a:pt x="306" y="171"/>
                </a:cubicBezTo>
                <a:close/>
                <a:moveTo>
                  <a:pt x="139" y="179"/>
                </a:moveTo>
                <a:cubicBezTo>
                  <a:pt x="138" y="145"/>
                  <a:pt x="95" y="131"/>
                  <a:pt x="24" y="110"/>
                </a:cubicBezTo>
                <a:cubicBezTo>
                  <a:pt x="61" y="135"/>
                  <a:pt x="84" y="183"/>
                  <a:pt x="139" y="179"/>
                </a:cubicBezTo>
                <a:close/>
                <a:moveTo>
                  <a:pt x="137" y="226"/>
                </a:moveTo>
                <a:cubicBezTo>
                  <a:pt x="87" y="194"/>
                  <a:pt x="44" y="223"/>
                  <a:pt x="0" y="228"/>
                </a:cubicBezTo>
                <a:cubicBezTo>
                  <a:pt x="44" y="231"/>
                  <a:pt x="88" y="260"/>
                  <a:pt x="137" y="226"/>
                </a:cubicBezTo>
                <a:close/>
                <a:moveTo>
                  <a:pt x="226" y="133"/>
                </a:moveTo>
                <a:cubicBezTo>
                  <a:pt x="246" y="108"/>
                  <a:pt x="245" y="42"/>
                  <a:pt x="225" y="0"/>
                </a:cubicBezTo>
                <a:cubicBezTo>
                  <a:pt x="210" y="70"/>
                  <a:pt x="198" y="108"/>
                  <a:pt x="226" y="133"/>
                </a:cubicBezTo>
                <a:close/>
                <a:moveTo>
                  <a:pt x="344" y="26"/>
                </a:moveTo>
                <a:cubicBezTo>
                  <a:pt x="318" y="62"/>
                  <a:pt x="270" y="84"/>
                  <a:pt x="274" y="144"/>
                </a:cubicBezTo>
                <a:cubicBezTo>
                  <a:pt x="326" y="118"/>
                  <a:pt x="325" y="66"/>
                  <a:pt x="344" y="26"/>
                </a:cubicBezTo>
                <a:close/>
                <a:moveTo>
                  <a:pt x="318" y="227"/>
                </a:moveTo>
                <a:cubicBezTo>
                  <a:pt x="367" y="259"/>
                  <a:pt x="411" y="233"/>
                  <a:pt x="455" y="228"/>
                </a:cubicBezTo>
                <a:cubicBezTo>
                  <a:pt x="411" y="223"/>
                  <a:pt x="368" y="195"/>
                  <a:pt x="318" y="227"/>
                </a:cubicBezTo>
                <a:close/>
                <a:moveTo>
                  <a:pt x="308" y="268"/>
                </a:moveTo>
                <a:cubicBezTo>
                  <a:pt x="336" y="320"/>
                  <a:pt x="388" y="315"/>
                  <a:pt x="429" y="331"/>
                </a:cubicBezTo>
                <a:cubicBezTo>
                  <a:pt x="392" y="307"/>
                  <a:pt x="366" y="262"/>
                  <a:pt x="308" y="268"/>
                </a:cubicBezTo>
                <a:close/>
                <a:moveTo>
                  <a:pt x="361" y="410"/>
                </a:moveTo>
                <a:cubicBezTo>
                  <a:pt x="337" y="373"/>
                  <a:pt x="332" y="320"/>
                  <a:pt x="276" y="304"/>
                </a:cubicBezTo>
                <a:cubicBezTo>
                  <a:pt x="279" y="362"/>
                  <a:pt x="331" y="378"/>
                  <a:pt x="361" y="410"/>
                </a:cubicBezTo>
                <a:close/>
                <a:moveTo>
                  <a:pt x="173" y="309"/>
                </a:moveTo>
                <a:cubicBezTo>
                  <a:pt x="120" y="335"/>
                  <a:pt x="124" y="388"/>
                  <a:pt x="105" y="428"/>
                </a:cubicBezTo>
                <a:cubicBezTo>
                  <a:pt x="130" y="392"/>
                  <a:pt x="178" y="368"/>
                  <a:pt x="173" y="309"/>
                </a:cubicBezTo>
                <a:close/>
                <a:moveTo>
                  <a:pt x="226" y="456"/>
                </a:moveTo>
                <a:cubicBezTo>
                  <a:pt x="229" y="411"/>
                  <a:pt x="260" y="366"/>
                  <a:pt x="226" y="317"/>
                </a:cubicBezTo>
                <a:cubicBezTo>
                  <a:pt x="191" y="366"/>
                  <a:pt x="223" y="411"/>
                  <a:pt x="226" y="456"/>
                </a:cubicBezTo>
                <a:close/>
                <a:moveTo>
                  <a:pt x="146" y="272"/>
                </a:moveTo>
                <a:cubicBezTo>
                  <a:pt x="86" y="269"/>
                  <a:pt x="65" y="319"/>
                  <a:pt x="30" y="345"/>
                </a:cubicBezTo>
                <a:cubicBezTo>
                  <a:pt x="70" y="326"/>
                  <a:pt x="122" y="325"/>
                  <a:pt x="146" y="272"/>
                </a:cubicBezTo>
                <a:close/>
                <a:moveTo>
                  <a:pt x="281" y="935"/>
                </a:moveTo>
                <a:cubicBezTo>
                  <a:pt x="279" y="934"/>
                  <a:pt x="276" y="933"/>
                  <a:pt x="274" y="932"/>
                </a:cubicBezTo>
                <a:cubicBezTo>
                  <a:pt x="276" y="934"/>
                  <a:pt x="278" y="935"/>
                  <a:pt x="280" y="937"/>
                </a:cubicBezTo>
                <a:cubicBezTo>
                  <a:pt x="280" y="936"/>
                  <a:pt x="281" y="936"/>
                  <a:pt x="281" y="93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77" tIns="45738" rIns="91477" bIns="45738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 bwMode="gray">
          <a:xfrm>
            <a:off x="198939" y="123478"/>
            <a:ext cx="7833627" cy="504250"/>
          </a:xfrm>
        </p:spPr>
        <p:txBody>
          <a:bodyPr/>
          <a:lstStyle/>
          <a:p>
            <a:pPr marL="285864" indent="-285864"/>
            <a:r>
              <a:rPr lang="en-US" dirty="0" smtClean="0"/>
              <a:t>What impact does this have on the way we shop?</a:t>
            </a:r>
            <a:endParaRPr lang="en-US" dirty="0"/>
          </a:p>
        </p:txBody>
      </p:sp>
      <p:sp>
        <p:nvSpPr>
          <p:cNvPr id="5" name="Up Arrow 4"/>
          <p:cNvSpPr/>
          <p:nvPr/>
        </p:nvSpPr>
        <p:spPr bwMode="gray">
          <a:xfrm>
            <a:off x="3446281" y="2665772"/>
            <a:ext cx="2223715" cy="2107600"/>
          </a:xfrm>
          <a:prstGeom prst="upArrow">
            <a:avLst/>
          </a:prstGeom>
          <a:solidFill>
            <a:schemeClr val="bg2">
              <a:lumMod val="60000"/>
              <a:lumOff val="40000"/>
            </a:schemeClr>
          </a:solidFill>
          <a:ln w="76200" cmpd="sng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77" tIns="45738" rIns="91477" bIns="457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110511" y="3118088"/>
            <a:ext cx="1174429" cy="3079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endParaRPr lang="en-US" sz="3600" dirty="0" err="1">
              <a:solidFill>
                <a:schemeClr val="bg1"/>
              </a:solidFill>
              <a:latin typeface="Arial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24483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8" grpId="0" animBg="1"/>
      <p:bldP spid="20" grpId="0"/>
      <p:bldP spid="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26" name="Picture 2" descr="C:\Users\anna.paszek\Desktop\Pictures\shutterstock_173451446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36659" y="-668907"/>
            <a:ext cx="9184782" cy="6130104"/>
          </a:xfrm>
          <a:prstGeom prst="rect">
            <a:avLst/>
          </a:prstGeom>
          <a:pattFill prst="pct5">
            <a:fgClr>
              <a:srgbClr val="FFFFFF"/>
            </a:fgClr>
            <a:bgClr>
              <a:schemeClr val="bg1"/>
            </a:bgClr>
          </a:pattFill>
          <a:extLst/>
        </p:spPr>
      </p:pic>
      <p:sp>
        <p:nvSpPr>
          <p:cNvPr id="8" name="Rectangle 7"/>
          <p:cNvSpPr/>
          <p:nvPr/>
        </p:nvSpPr>
        <p:spPr>
          <a:xfrm>
            <a:off x="-7212" y="2652855"/>
            <a:ext cx="9155975" cy="2000584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txBody>
          <a:bodyPr wrap="square" lIns="91477" tIns="45738" rIns="91477" bIns="45738" anchor="ctr">
            <a:spAutoFit/>
          </a:bodyPr>
          <a:lstStyle/>
          <a:p>
            <a:endParaRPr lang="en-GB" sz="3600" dirty="0" smtClean="0">
              <a:solidFill>
                <a:schemeClr val="accent3"/>
              </a:solidFill>
              <a:latin typeface="Arial" panose="020B0604020202020204" pitchFamily="34" charset="0"/>
            </a:endParaRPr>
          </a:p>
          <a:p>
            <a:pPr algn="ctr"/>
            <a:r>
              <a:rPr lang="en-GB" sz="32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Let’s dive into some digital research!</a:t>
            </a:r>
          </a:p>
          <a:p>
            <a:endParaRPr lang="en-GB" sz="2000" dirty="0">
              <a:solidFill>
                <a:schemeClr val="accent3"/>
              </a:solidFill>
              <a:latin typeface="Arial" panose="020B0604020202020204" pitchFamily="34" charset="0"/>
            </a:endParaRPr>
          </a:p>
          <a:p>
            <a:endParaRPr lang="en-GB" sz="3600" b="1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50004" y="195481"/>
            <a:ext cx="576379" cy="576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8865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C:\Users\cathy.buena\Downloads\shutterstock_195021491.jpg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09" t="16252" r="45201" b="-304"/>
          <a:stretch/>
        </p:blipFill>
        <p:spPr bwMode="auto">
          <a:xfrm>
            <a:off x="6164317" y="849641"/>
            <a:ext cx="2984446" cy="4295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Methodology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24019" y="749554"/>
            <a:ext cx="4894367" cy="3817995"/>
          </a:xfrm>
        </p:spPr>
        <p:txBody>
          <a:bodyPr/>
          <a:lstStyle/>
          <a:p>
            <a:pPr marL="0" indent="0">
              <a:buNone/>
            </a:pPr>
            <a:endParaRPr lang="en-US" sz="160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Tracked website and app behavior of </a:t>
            </a:r>
            <a:r>
              <a:rPr lang="en-US" sz="1600" b="1" dirty="0" smtClean="0">
                <a:solidFill>
                  <a:schemeClr val="tx1"/>
                </a:solidFill>
              </a:rPr>
              <a:t>10 KEY RETAILER AND 8 THIRD PARTY </a:t>
            </a:r>
            <a:r>
              <a:rPr lang="en-US" sz="1600" b="1" dirty="0">
                <a:solidFill>
                  <a:schemeClr val="tx1"/>
                </a:solidFill>
              </a:rPr>
              <a:t>sites and apps </a:t>
            </a:r>
            <a:r>
              <a:rPr lang="en-US" sz="1600" dirty="0" smtClean="0">
                <a:solidFill>
                  <a:schemeClr val="tx1"/>
                </a:solidFill>
              </a:rPr>
              <a:t>users within the GfK </a:t>
            </a:r>
            <a:r>
              <a:rPr lang="en-US" sz="1600" dirty="0" err="1" smtClean="0">
                <a:solidFill>
                  <a:schemeClr val="tx1"/>
                </a:solidFill>
              </a:rPr>
              <a:t>KnowledgePanel</a:t>
            </a:r>
            <a:r>
              <a:rPr lang="en-US" sz="1600" dirty="0">
                <a:solidFill>
                  <a:schemeClr val="tx1"/>
                </a:solidFill>
              </a:rPr>
              <a:t>® </a:t>
            </a:r>
            <a:r>
              <a:rPr lang="en-US" sz="1600" dirty="0" smtClean="0">
                <a:solidFill>
                  <a:schemeClr val="tx1"/>
                </a:solidFill>
              </a:rPr>
              <a:t>Digital platform for one month (Aug – Sep 2015)</a:t>
            </a:r>
          </a:p>
          <a:p>
            <a:pPr marL="628650" lvl="1" indent="-269875">
              <a:buFont typeface="Wingdings" panose="05000000000000000000" pitchFamily="2" charset="2"/>
              <a:buChar char="§"/>
            </a:pPr>
            <a:r>
              <a:rPr lang="en-US" sz="1400" dirty="0" err="1" smtClean="0"/>
              <a:t>KnowledgePanel</a:t>
            </a:r>
            <a:r>
              <a:rPr lang="en-US" sz="1400" dirty="0"/>
              <a:t>® </a:t>
            </a:r>
            <a:r>
              <a:rPr lang="en-US" sz="1400" dirty="0" smtClean="0"/>
              <a:t>Digital: </a:t>
            </a:r>
            <a:r>
              <a:rPr lang="en-US" sz="1400" dirty="0"/>
              <a:t>Mobile Device Users, 18+, English </a:t>
            </a:r>
            <a:r>
              <a:rPr lang="en-US" sz="1400" dirty="0" smtClean="0"/>
              <a:t>Speaking</a:t>
            </a:r>
          </a:p>
          <a:p>
            <a:pPr marL="628650" lvl="1" indent="-269875">
              <a:buFont typeface="Wingdings" panose="05000000000000000000" pitchFamily="2" charset="2"/>
              <a:buChar char="§"/>
            </a:pPr>
            <a:r>
              <a:rPr lang="en-US" sz="1400" dirty="0" smtClean="0"/>
              <a:t>Data is not weighted</a:t>
            </a:r>
            <a:endParaRPr lang="en-US" sz="160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Compared behaviors across categories, with a particular focus on the grocery category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Overlaid demographic profiles collected for panelis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323847" y="853741"/>
            <a:ext cx="8503920" cy="2743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102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10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162" indent="-180054" algn="l" defTabSz="914675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sz="1200" dirty="0" smtClean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44789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5 </a:t>
            </a:r>
            <a:r>
              <a:rPr lang="en-US" dirty="0"/>
              <a:t>notable </a:t>
            </a:r>
            <a:r>
              <a:rPr lang="en-US" dirty="0" smtClean="0"/>
              <a:t>trends</a:t>
            </a:r>
            <a:r>
              <a:rPr lang="en-US" dirty="0"/>
              <a:t/>
            </a:r>
            <a:br>
              <a:rPr lang="en-US" dirty="0"/>
            </a:br>
            <a:r>
              <a:rPr lang="en-US" sz="3200" dirty="0"/>
              <a:t>that reflect the </a:t>
            </a:r>
            <a:r>
              <a:rPr lang="en-US" sz="3200" dirty="0" smtClean="0"/>
              <a:t>digital retail-engaged </a:t>
            </a:r>
            <a:br>
              <a:rPr lang="en-US" sz="3200" dirty="0" smtClean="0"/>
            </a:br>
            <a:r>
              <a:rPr lang="en-US" sz="3200" dirty="0" smtClean="0"/>
              <a:t>mindset and </a:t>
            </a:r>
            <a:r>
              <a:rPr lang="en-US" sz="3200" dirty="0"/>
              <a:t>priorit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1122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C:\Users\poonam.naik\Pictures\Images\42-2693016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0"/>
            <a:ext cx="9148762" cy="5237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227"/>
          <p:cNvSpPr/>
          <p:nvPr/>
        </p:nvSpPr>
        <p:spPr bwMode="gray">
          <a:xfrm>
            <a:off x="1" y="1"/>
            <a:ext cx="9141991" cy="5248863"/>
          </a:xfrm>
          <a:prstGeom prst="rect">
            <a:avLst/>
          </a:prstGeom>
          <a:solidFill>
            <a:srgbClr val="FFFFFF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77" tIns="45738" rIns="91477" bIns="457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</a:pPr>
            <a:endParaRPr lang="de-DE" sz="16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89313" y="195548"/>
            <a:ext cx="576379" cy="576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4474647" y="3793913"/>
            <a:ext cx="4743018" cy="1351175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54000"/>
                </a:schemeClr>
              </a:gs>
              <a:gs pos="43000">
                <a:schemeClr val="accent1">
                  <a:tint val="66000"/>
                  <a:satMod val="160000"/>
                  <a:alpha val="54000"/>
                </a:schemeClr>
              </a:gs>
              <a:gs pos="100000">
                <a:schemeClr val="accent1">
                  <a:tint val="23500"/>
                  <a:satMod val="160000"/>
                  <a:alpha val="54000"/>
                </a:schemeClr>
              </a:gs>
            </a:gsLst>
            <a:lin ang="5400000" scaled="0"/>
          </a:gradFill>
        </p:spPr>
        <p:txBody>
          <a:bodyPr wrap="square" lIns="91477" tIns="45738" rIns="91477" bIns="45738">
            <a:spAutoFit/>
          </a:bodyPr>
          <a:lstStyle/>
          <a:p>
            <a:pPr algn="ctr" defTabSz="489146">
              <a:lnSpc>
                <a:spcPct val="90000"/>
              </a:lnSpc>
              <a:spcAft>
                <a:spcPct val="35000"/>
              </a:spcAft>
            </a:pPr>
            <a:r>
              <a:rPr lang="en-GB" sz="2800" b="1" dirty="0" smtClean="0">
                <a:ln>
                  <a:solidFill>
                    <a:schemeClr val="tx1"/>
                  </a:solidFill>
                </a:ln>
                <a:solidFill>
                  <a:schemeClr val="tx2"/>
                </a:solidFill>
              </a:rPr>
              <a:t>Retail Category          Digital Users</a:t>
            </a:r>
            <a:endParaRPr lang="en-GB" sz="2800" b="1" dirty="0">
              <a:ln>
                <a:solidFill>
                  <a:schemeClr val="tx1"/>
                </a:solidFill>
              </a:ln>
              <a:solidFill>
                <a:schemeClr val="tx2"/>
              </a:solidFill>
            </a:endParaRPr>
          </a:p>
          <a:p>
            <a:pPr algn="ctr" defTabSz="489146">
              <a:lnSpc>
                <a:spcPct val="90000"/>
              </a:lnSpc>
              <a:spcAft>
                <a:spcPct val="35000"/>
              </a:spcAft>
            </a:pPr>
            <a:r>
              <a:rPr lang="en-GB" sz="24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omparison</a:t>
            </a:r>
            <a:endParaRPr lang="en-GB" sz="24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2870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0" y="3508649"/>
            <a:ext cx="9148763" cy="16364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#1: </a:t>
            </a:r>
            <a:r>
              <a:rPr lang="en-US" b="1" dirty="0" smtClean="0">
                <a:solidFill>
                  <a:schemeClr val="tx2"/>
                </a:solidFill>
              </a:rPr>
              <a:t>Grocery </a:t>
            </a:r>
            <a:r>
              <a:rPr lang="en-US" b="1" dirty="0" smtClean="0"/>
              <a:t>behind </a:t>
            </a:r>
            <a:r>
              <a:rPr lang="en-US" b="1" dirty="0"/>
              <a:t>other </a:t>
            </a:r>
            <a:r>
              <a:rPr lang="en-US" b="1" dirty="0" smtClean="0"/>
              <a:t>retailers in usage</a:t>
            </a:r>
            <a:endParaRPr lang="en-US" dirty="0"/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323847" y="853741"/>
            <a:ext cx="8503920" cy="2743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102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10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162" indent="-180054" algn="l" defTabSz="914675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sz="1200" dirty="0" smtClean="0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914030581"/>
              </p:ext>
            </p:extLst>
          </p:nvPr>
        </p:nvGraphicFramePr>
        <p:xfrm>
          <a:off x="627261" y="1484415"/>
          <a:ext cx="7897091" cy="25175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34390" y="997531"/>
            <a:ext cx="8293377" cy="2493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rPr>
              <a:t>RELATIVE USAGE OF KEY RETAILER SITES/APPS</a:t>
            </a:r>
          </a:p>
          <a:p>
            <a:pPr algn="ctr">
              <a:spcBef>
                <a:spcPts val="300"/>
              </a:spcBef>
            </a:pPr>
            <a:r>
              <a:rPr lang="en-US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rPr>
              <a:t>Among a sampling of users of select retailer sites and apps (n=1.4K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506717" y="1780553"/>
            <a:ext cx="1119352" cy="7419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2400" b="1" dirty="0" smtClean="0">
                <a:solidFill>
                  <a:schemeClr val="accent1"/>
                </a:solidFill>
                <a:latin typeface="Arial" pitchFamily="34" charset="0"/>
              </a:rPr>
              <a:t>75%</a:t>
            </a:r>
          </a:p>
          <a:p>
            <a:pPr algn="ctr">
              <a:spcBef>
                <a:spcPts val="300"/>
              </a:spcBef>
            </a:pPr>
            <a:r>
              <a:rPr lang="en-US" sz="1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rPr>
              <a:t>vs E-</a:t>
            </a:r>
            <a:r>
              <a:rPr lang="en-US" sz="10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rPr>
              <a:t>Tailer</a:t>
            </a:r>
            <a:endParaRPr lang="en-US" sz="1000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016131" y="2445812"/>
            <a:ext cx="1119352" cy="7419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2400" b="1" dirty="0" smtClean="0">
                <a:solidFill>
                  <a:schemeClr val="accent1"/>
                </a:solidFill>
                <a:latin typeface="Arial" pitchFamily="34" charset="0"/>
              </a:rPr>
              <a:t>41%</a:t>
            </a:r>
          </a:p>
          <a:p>
            <a:pPr algn="ctr">
              <a:spcBef>
                <a:spcPts val="300"/>
              </a:spcBef>
            </a:pPr>
            <a:r>
              <a:rPr lang="en-US" sz="1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rPr>
              <a:t>vs Big Box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540131" y="2566679"/>
            <a:ext cx="1119352" cy="7419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2400" b="1" dirty="0" smtClean="0">
                <a:solidFill>
                  <a:schemeClr val="accent1"/>
                </a:solidFill>
                <a:latin typeface="Arial" pitchFamily="34" charset="0"/>
              </a:rPr>
              <a:t>82%</a:t>
            </a:r>
          </a:p>
          <a:p>
            <a:pPr algn="ctr">
              <a:spcBef>
                <a:spcPts val="300"/>
              </a:spcBef>
            </a:pPr>
            <a:r>
              <a:rPr lang="en-US" sz="1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rPr>
              <a:t>vs Ho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064131" y="2742255"/>
            <a:ext cx="1119352" cy="7419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2400" b="1" dirty="0" smtClean="0">
                <a:solidFill>
                  <a:schemeClr val="tx2"/>
                </a:solidFill>
                <a:latin typeface="Arial" pitchFamily="34" charset="0"/>
              </a:rPr>
              <a:t>47%</a:t>
            </a:r>
          </a:p>
          <a:p>
            <a:pPr algn="ctr">
              <a:spcBef>
                <a:spcPts val="300"/>
              </a:spcBef>
            </a:pPr>
            <a:r>
              <a:rPr lang="en-US" sz="1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rPr>
              <a:t>vs Drug</a:t>
            </a:r>
          </a:p>
        </p:txBody>
      </p:sp>
      <p:sp>
        <p:nvSpPr>
          <p:cNvPr id="11" name="Freeform 23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7265419" y="3993531"/>
            <a:ext cx="716776" cy="666675"/>
          </a:xfrm>
          <a:custGeom>
            <a:avLst/>
            <a:gdLst>
              <a:gd name="T0" fmla="*/ 1560 w 1920"/>
              <a:gd name="T1" fmla="*/ 1786 h 1786"/>
              <a:gd name="T2" fmla="*/ 242 w 1920"/>
              <a:gd name="T3" fmla="*/ 1677 h 1786"/>
              <a:gd name="T4" fmla="*/ 0 w 1920"/>
              <a:gd name="T5" fmla="*/ 666 h 1786"/>
              <a:gd name="T6" fmla="*/ 1920 w 1920"/>
              <a:gd name="T7" fmla="*/ 872 h 1786"/>
              <a:gd name="T8" fmla="*/ 1800 w 1920"/>
              <a:gd name="T9" fmla="*/ 854 h 1786"/>
              <a:gd name="T10" fmla="*/ 1660 w 1920"/>
              <a:gd name="T11" fmla="*/ 826 h 1786"/>
              <a:gd name="T12" fmla="*/ 1742 w 1920"/>
              <a:gd name="T13" fmla="*/ 1046 h 1786"/>
              <a:gd name="T14" fmla="*/ 120 w 1920"/>
              <a:gd name="T15" fmla="*/ 826 h 1786"/>
              <a:gd name="T16" fmla="*/ 178 w 1920"/>
              <a:gd name="T17" fmla="*/ 1046 h 1786"/>
              <a:gd name="T18" fmla="*/ 260 w 1920"/>
              <a:gd name="T19" fmla="*/ 826 h 1786"/>
              <a:gd name="T20" fmla="*/ 214 w 1920"/>
              <a:gd name="T21" fmla="*/ 1166 h 1786"/>
              <a:gd name="T22" fmla="*/ 260 w 1920"/>
              <a:gd name="T23" fmla="*/ 1166 h 1786"/>
              <a:gd name="T24" fmla="*/ 380 w 1920"/>
              <a:gd name="T25" fmla="*/ 1666 h 1786"/>
              <a:gd name="T26" fmla="*/ 580 w 1920"/>
              <a:gd name="T27" fmla="*/ 1486 h 1786"/>
              <a:gd name="T28" fmla="*/ 380 w 1920"/>
              <a:gd name="T29" fmla="*/ 1666 h 1786"/>
              <a:gd name="T30" fmla="*/ 900 w 1920"/>
              <a:gd name="T31" fmla="*/ 1666 h 1786"/>
              <a:gd name="T32" fmla="*/ 700 w 1920"/>
              <a:gd name="T33" fmla="*/ 1486 h 1786"/>
              <a:gd name="T34" fmla="*/ 1020 w 1920"/>
              <a:gd name="T35" fmla="*/ 1666 h 1786"/>
              <a:gd name="T36" fmla="*/ 1220 w 1920"/>
              <a:gd name="T37" fmla="*/ 1486 h 1786"/>
              <a:gd name="T38" fmla="*/ 1020 w 1920"/>
              <a:gd name="T39" fmla="*/ 1666 h 1786"/>
              <a:gd name="T40" fmla="*/ 1540 w 1920"/>
              <a:gd name="T41" fmla="*/ 1666 h 1786"/>
              <a:gd name="T42" fmla="*/ 1340 w 1920"/>
              <a:gd name="T43" fmla="*/ 1486 h 1786"/>
              <a:gd name="T44" fmla="*/ 1660 w 1920"/>
              <a:gd name="T45" fmla="*/ 1322 h 1786"/>
              <a:gd name="T46" fmla="*/ 1660 w 1920"/>
              <a:gd name="T47" fmla="*/ 1166 h 1786"/>
              <a:gd name="T48" fmla="*/ 1540 w 1920"/>
              <a:gd name="T49" fmla="*/ 1366 h 1786"/>
              <a:gd name="T50" fmla="*/ 1340 w 1920"/>
              <a:gd name="T51" fmla="*/ 1166 h 1786"/>
              <a:gd name="T52" fmla="*/ 1540 w 1920"/>
              <a:gd name="T53" fmla="*/ 1366 h 1786"/>
              <a:gd name="T54" fmla="*/ 1220 w 1920"/>
              <a:gd name="T55" fmla="*/ 1166 h 1786"/>
              <a:gd name="T56" fmla="*/ 1020 w 1920"/>
              <a:gd name="T57" fmla="*/ 1366 h 1786"/>
              <a:gd name="T58" fmla="*/ 900 w 1920"/>
              <a:gd name="T59" fmla="*/ 1366 h 1786"/>
              <a:gd name="T60" fmla="*/ 700 w 1920"/>
              <a:gd name="T61" fmla="*/ 1166 h 1786"/>
              <a:gd name="T62" fmla="*/ 900 w 1920"/>
              <a:gd name="T63" fmla="*/ 1366 h 1786"/>
              <a:gd name="T64" fmla="*/ 580 w 1920"/>
              <a:gd name="T65" fmla="*/ 1166 h 1786"/>
              <a:gd name="T66" fmla="*/ 380 w 1920"/>
              <a:gd name="T67" fmla="*/ 1366 h 1786"/>
              <a:gd name="T68" fmla="*/ 380 w 1920"/>
              <a:gd name="T69" fmla="*/ 1046 h 1786"/>
              <a:gd name="T70" fmla="*/ 580 w 1920"/>
              <a:gd name="T71" fmla="*/ 826 h 1786"/>
              <a:gd name="T72" fmla="*/ 380 w 1920"/>
              <a:gd name="T73" fmla="*/ 1046 h 1786"/>
              <a:gd name="T74" fmla="*/ 598 w 1920"/>
              <a:gd name="T75" fmla="*/ 24 h 1786"/>
              <a:gd name="T76" fmla="*/ 682 w 1920"/>
              <a:gd name="T77" fmla="*/ 108 h 1786"/>
              <a:gd name="T78" fmla="*/ 35 w 1920"/>
              <a:gd name="T79" fmla="*/ 586 h 1786"/>
              <a:gd name="T80" fmla="*/ 1238 w 1920"/>
              <a:gd name="T81" fmla="*/ 108 h 1786"/>
              <a:gd name="T82" fmla="*/ 1322 w 1920"/>
              <a:gd name="T83" fmla="*/ 24 h 1786"/>
              <a:gd name="T84" fmla="*/ 1715 w 1920"/>
              <a:gd name="T85" fmla="*/ 586 h 1786"/>
              <a:gd name="T86" fmla="*/ 900 w 1920"/>
              <a:gd name="T87" fmla="*/ 1046 h 1786"/>
              <a:gd name="T88" fmla="*/ 700 w 1920"/>
              <a:gd name="T89" fmla="*/ 826 h 1786"/>
              <a:gd name="T90" fmla="*/ 1020 w 1920"/>
              <a:gd name="T91" fmla="*/ 1046 h 1786"/>
              <a:gd name="T92" fmla="*/ 1220 w 1920"/>
              <a:gd name="T93" fmla="*/ 826 h 1786"/>
              <a:gd name="T94" fmla="*/ 1020 w 1920"/>
              <a:gd name="T95" fmla="*/ 1046 h 1786"/>
              <a:gd name="T96" fmla="*/ 1540 w 1920"/>
              <a:gd name="T97" fmla="*/ 1046 h 1786"/>
              <a:gd name="T98" fmla="*/ 1340 w 1920"/>
              <a:gd name="T99" fmla="*/ 826 h 17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920" h="1786">
                <a:moveTo>
                  <a:pt x="1678" y="1677"/>
                </a:moveTo>
                <a:cubicBezTo>
                  <a:pt x="1661" y="1734"/>
                  <a:pt x="1625" y="1786"/>
                  <a:pt x="1560" y="1786"/>
                </a:cubicBezTo>
                <a:cubicBezTo>
                  <a:pt x="360" y="1786"/>
                  <a:pt x="360" y="1786"/>
                  <a:pt x="360" y="1786"/>
                </a:cubicBezTo>
                <a:cubicBezTo>
                  <a:pt x="295" y="1786"/>
                  <a:pt x="259" y="1734"/>
                  <a:pt x="242" y="1677"/>
                </a:cubicBezTo>
                <a:cubicBezTo>
                  <a:pt x="0" y="872"/>
                  <a:pt x="0" y="872"/>
                  <a:pt x="0" y="872"/>
                </a:cubicBezTo>
                <a:cubicBezTo>
                  <a:pt x="0" y="666"/>
                  <a:pt x="0" y="666"/>
                  <a:pt x="0" y="666"/>
                </a:cubicBezTo>
                <a:cubicBezTo>
                  <a:pt x="1920" y="666"/>
                  <a:pt x="1920" y="666"/>
                  <a:pt x="1920" y="666"/>
                </a:cubicBezTo>
                <a:cubicBezTo>
                  <a:pt x="1920" y="872"/>
                  <a:pt x="1920" y="872"/>
                  <a:pt x="1920" y="872"/>
                </a:cubicBezTo>
                <a:lnTo>
                  <a:pt x="1678" y="1677"/>
                </a:lnTo>
                <a:close/>
                <a:moveTo>
                  <a:pt x="1800" y="854"/>
                </a:moveTo>
                <a:cubicBezTo>
                  <a:pt x="1800" y="826"/>
                  <a:pt x="1800" y="826"/>
                  <a:pt x="1800" y="826"/>
                </a:cubicBezTo>
                <a:cubicBezTo>
                  <a:pt x="1660" y="826"/>
                  <a:pt x="1660" y="826"/>
                  <a:pt x="1660" y="826"/>
                </a:cubicBezTo>
                <a:cubicBezTo>
                  <a:pt x="1660" y="1046"/>
                  <a:pt x="1660" y="1046"/>
                  <a:pt x="1660" y="1046"/>
                </a:cubicBezTo>
                <a:cubicBezTo>
                  <a:pt x="1742" y="1046"/>
                  <a:pt x="1742" y="1046"/>
                  <a:pt x="1742" y="1046"/>
                </a:cubicBezTo>
                <a:lnTo>
                  <a:pt x="1800" y="854"/>
                </a:lnTo>
                <a:close/>
                <a:moveTo>
                  <a:pt x="120" y="826"/>
                </a:moveTo>
                <a:cubicBezTo>
                  <a:pt x="120" y="854"/>
                  <a:pt x="120" y="854"/>
                  <a:pt x="120" y="854"/>
                </a:cubicBezTo>
                <a:cubicBezTo>
                  <a:pt x="178" y="1046"/>
                  <a:pt x="178" y="1046"/>
                  <a:pt x="178" y="1046"/>
                </a:cubicBezTo>
                <a:cubicBezTo>
                  <a:pt x="260" y="1046"/>
                  <a:pt x="260" y="1046"/>
                  <a:pt x="260" y="1046"/>
                </a:cubicBezTo>
                <a:cubicBezTo>
                  <a:pt x="260" y="826"/>
                  <a:pt x="260" y="826"/>
                  <a:pt x="260" y="826"/>
                </a:cubicBezTo>
                <a:lnTo>
                  <a:pt x="120" y="826"/>
                </a:lnTo>
                <a:close/>
                <a:moveTo>
                  <a:pt x="214" y="1166"/>
                </a:moveTo>
                <a:cubicBezTo>
                  <a:pt x="260" y="1322"/>
                  <a:pt x="260" y="1322"/>
                  <a:pt x="260" y="1322"/>
                </a:cubicBezTo>
                <a:cubicBezTo>
                  <a:pt x="260" y="1166"/>
                  <a:pt x="260" y="1166"/>
                  <a:pt x="260" y="1166"/>
                </a:cubicBezTo>
                <a:lnTo>
                  <a:pt x="214" y="1166"/>
                </a:lnTo>
                <a:close/>
                <a:moveTo>
                  <a:pt x="380" y="1666"/>
                </a:moveTo>
                <a:cubicBezTo>
                  <a:pt x="580" y="1666"/>
                  <a:pt x="580" y="1666"/>
                  <a:pt x="580" y="1666"/>
                </a:cubicBezTo>
                <a:cubicBezTo>
                  <a:pt x="580" y="1486"/>
                  <a:pt x="580" y="1486"/>
                  <a:pt x="580" y="1486"/>
                </a:cubicBezTo>
                <a:cubicBezTo>
                  <a:pt x="380" y="1486"/>
                  <a:pt x="380" y="1486"/>
                  <a:pt x="380" y="1486"/>
                </a:cubicBezTo>
                <a:lnTo>
                  <a:pt x="380" y="1666"/>
                </a:lnTo>
                <a:close/>
                <a:moveTo>
                  <a:pt x="700" y="1666"/>
                </a:moveTo>
                <a:cubicBezTo>
                  <a:pt x="900" y="1666"/>
                  <a:pt x="900" y="1666"/>
                  <a:pt x="900" y="1666"/>
                </a:cubicBezTo>
                <a:cubicBezTo>
                  <a:pt x="900" y="1486"/>
                  <a:pt x="900" y="1486"/>
                  <a:pt x="900" y="1486"/>
                </a:cubicBezTo>
                <a:cubicBezTo>
                  <a:pt x="700" y="1486"/>
                  <a:pt x="700" y="1486"/>
                  <a:pt x="700" y="1486"/>
                </a:cubicBezTo>
                <a:lnTo>
                  <a:pt x="700" y="1666"/>
                </a:lnTo>
                <a:close/>
                <a:moveTo>
                  <a:pt x="1020" y="1666"/>
                </a:moveTo>
                <a:cubicBezTo>
                  <a:pt x="1220" y="1666"/>
                  <a:pt x="1220" y="1666"/>
                  <a:pt x="1220" y="1666"/>
                </a:cubicBezTo>
                <a:cubicBezTo>
                  <a:pt x="1220" y="1486"/>
                  <a:pt x="1220" y="1486"/>
                  <a:pt x="1220" y="1486"/>
                </a:cubicBezTo>
                <a:cubicBezTo>
                  <a:pt x="1020" y="1486"/>
                  <a:pt x="1020" y="1486"/>
                  <a:pt x="1020" y="1486"/>
                </a:cubicBezTo>
                <a:lnTo>
                  <a:pt x="1020" y="1666"/>
                </a:lnTo>
                <a:close/>
                <a:moveTo>
                  <a:pt x="1340" y="1666"/>
                </a:moveTo>
                <a:cubicBezTo>
                  <a:pt x="1540" y="1666"/>
                  <a:pt x="1540" y="1666"/>
                  <a:pt x="1540" y="1666"/>
                </a:cubicBezTo>
                <a:cubicBezTo>
                  <a:pt x="1540" y="1486"/>
                  <a:pt x="1540" y="1486"/>
                  <a:pt x="1540" y="1486"/>
                </a:cubicBezTo>
                <a:cubicBezTo>
                  <a:pt x="1340" y="1486"/>
                  <a:pt x="1340" y="1486"/>
                  <a:pt x="1340" y="1486"/>
                </a:cubicBezTo>
                <a:lnTo>
                  <a:pt x="1340" y="1666"/>
                </a:lnTo>
                <a:close/>
                <a:moveTo>
                  <a:pt x="1660" y="1322"/>
                </a:moveTo>
                <a:cubicBezTo>
                  <a:pt x="1706" y="1166"/>
                  <a:pt x="1706" y="1166"/>
                  <a:pt x="1706" y="1166"/>
                </a:cubicBezTo>
                <a:cubicBezTo>
                  <a:pt x="1660" y="1166"/>
                  <a:pt x="1660" y="1166"/>
                  <a:pt x="1660" y="1166"/>
                </a:cubicBezTo>
                <a:lnTo>
                  <a:pt x="1660" y="1322"/>
                </a:lnTo>
                <a:close/>
                <a:moveTo>
                  <a:pt x="1540" y="1366"/>
                </a:moveTo>
                <a:cubicBezTo>
                  <a:pt x="1540" y="1166"/>
                  <a:pt x="1540" y="1166"/>
                  <a:pt x="1540" y="1166"/>
                </a:cubicBezTo>
                <a:cubicBezTo>
                  <a:pt x="1340" y="1166"/>
                  <a:pt x="1340" y="1166"/>
                  <a:pt x="1340" y="1166"/>
                </a:cubicBezTo>
                <a:cubicBezTo>
                  <a:pt x="1340" y="1366"/>
                  <a:pt x="1340" y="1366"/>
                  <a:pt x="1340" y="1366"/>
                </a:cubicBezTo>
                <a:lnTo>
                  <a:pt x="1540" y="1366"/>
                </a:lnTo>
                <a:close/>
                <a:moveTo>
                  <a:pt x="1220" y="1366"/>
                </a:moveTo>
                <a:cubicBezTo>
                  <a:pt x="1220" y="1166"/>
                  <a:pt x="1220" y="1166"/>
                  <a:pt x="1220" y="1166"/>
                </a:cubicBezTo>
                <a:cubicBezTo>
                  <a:pt x="1020" y="1166"/>
                  <a:pt x="1020" y="1166"/>
                  <a:pt x="1020" y="1166"/>
                </a:cubicBezTo>
                <a:cubicBezTo>
                  <a:pt x="1020" y="1366"/>
                  <a:pt x="1020" y="1366"/>
                  <a:pt x="1020" y="1366"/>
                </a:cubicBezTo>
                <a:lnTo>
                  <a:pt x="1220" y="1366"/>
                </a:lnTo>
                <a:close/>
                <a:moveTo>
                  <a:pt x="900" y="1366"/>
                </a:moveTo>
                <a:cubicBezTo>
                  <a:pt x="900" y="1166"/>
                  <a:pt x="900" y="1166"/>
                  <a:pt x="900" y="1166"/>
                </a:cubicBezTo>
                <a:cubicBezTo>
                  <a:pt x="700" y="1166"/>
                  <a:pt x="700" y="1166"/>
                  <a:pt x="700" y="1166"/>
                </a:cubicBezTo>
                <a:cubicBezTo>
                  <a:pt x="700" y="1366"/>
                  <a:pt x="700" y="1366"/>
                  <a:pt x="700" y="1366"/>
                </a:cubicBezTo>
                <a:lnTo>
                  <a:pt x="900" y="1366"/>
                </a:lnTo>
                <a:close/>
                <a:moveTo>
                  <a:pt x="580" y="1366"/>
                </a:moveTo>
                <a:cubicBezTo>
                  <a:pt x="580" y="1166"/>
                  <a:pt x="580" y="1166"/>
                  <a:pt x="580" y="1166"/>
                </a:cubicBezTo>
                <a:cubicBezTo>
                  <a:pt x="380" y="1166"/>
                  <a:pt x="380" y="1166"/>
                  <a:pt x="380" y="1166"/>
                </a:cubicBezTo>
                <a:cubicBezTo>
                  <a:pt x="380" y="1366"/>
                  <a:pt x="380" y="1366"/>
                  <a:pt x="380" y="1366"/>
                </a:cubicBezTo>
                <a:lnTo>
                  <a:pt x="580" y="1366"/>
                </a:lnTo>
                <a:close/>
                <a:moveTo>
                  <a:pt x="380" y="1046"/>
                </a:moveTo>
                <a:cubicBezTo>
                  <a:pt x="580" y="1046"/>
                  <a:pt x="580" y="1046"/>
                  <a:pt x="580" y="1046"/>
                </a:cubicBezTo>
                <a:cubicBezTo>
                  <a:pt x="580" y="826"/>
                  <a:pt x="580" y="826"/>
                  <a:pt x="580" y="826"/>
                </a:cubicBezTo>
                <a:cubicBezTo>
                  <a:pt x="380" y="826"/>
                  <a:pt x="380" y="826"/>
                  <a:pt x="380" y="826"/>
                </a:cubicBezTo>
                <a:lnTo>
                  <a:pt x="380" y="1046"/>
                </a:lnTo>
                <a:close/>
                <a:moveTo>
                  <a:pt x="35" y="586"/>
                </a:moveTo>
                <a:cubicBezTo>
                  <a:pt x="598" y="24"/>
                  <a:pt x="598" y="24"/>
                  <a:pt x="598" y="24"/>
                </a:cubicBezTo>
                <a:cubicBezTo>
                  <a:pt x="621" y="0"/>
                  <a:pt x="659" y="0"/>
                  <a:pt x="682" y="24"/>
                </a:cubicBezTo>
                <a:cubicBezTo>
                  <a:pt x="706" y="47"/>
                  <a:pt x="706" y="85"/>
                  <a:pt x="682" y="108"/>
                </a:cubicBezTo>
                <a:cubicBezTo>
                  <a:pt x="205" y="586"/>
                  <a:pt x="205" y="586"/>
                  <a:pt x="205" y="586"/>
                </a:cubicBezTo>
                <a:lnTo>
                  <a:pt x="35" y="586"/>
                </a:lnTo>
                <a:close/>
                <a:moveTo>
                  <a:pt x="1715" y="586"/>
                </a:moveTo>
                <a:cubicBezTo>
                  <a:pt x="1238" y="108"/>
                  <a:pt x="1238" y="108"/>
                  <a:pt x="1238" y="108"/>
                </a:cubicBezTo>
                <a:cubicBezTo>
                  <a:pt x="1214" y="85"/>
                  <a:pt x="1214" y="47"/>
                  <a:pt x="1238" y="24"/>
                </a:cubicBezTo>
                <a:cubicBezTo>
                  <a:pt x="1261" y="0"/>
                  <a:pt x="1299" y="0"/>
                  <a:pt x="1322" y="24"/>
                </a:cubicBezTo>
                <a:cubicBezTo>
                  <a:pt x="1885" y="586"/>
                  <a:pt x="1885" y="586"/>
                  <a:pt x="1885" y="586"/>
                </a:cubicBezTo>
                <a:lnTo>
                  <a:pt x="1715" y="586"/>
                </a:lnTo>
                <a:close/>
                <a:moveTo>
                  <a:pt x="700" y="1046"/>
                </a:moveTo>
                <a:cubicBezTo>
                  <a:pt x="900" y="1046"/>
                  <a:pt x="900" y="1046"/>
                  <a:pt x="900" y="1046"/>
                </a:cubicBezTo>
                <a:cubicBezTo>
                  <a:pt x="900" y="826"/>
                  <a:pt x="900" y="826"/>
                  <a:pt x="900" y="826"/>
                </a:cubicBezTo>
                <a:cubicBezTo>
                  <a:pt x="700" y="826"/>
                  <a:pt x="700" y="826"/>
                  <a:pt x="700" y="826"/>
                </a:cubicBezTo>
                <a:lnTo>
                  <a:pt x="700" y="1046"/>
                </a:lnTo>
                <a:close/>
                <a:moveTo>
                  <a:pt x="1020" y="1046"/>
                </a:moveTo>
                <a:cubicBezTo>
                  <a:pt x="1220" y="1046"/>
                  <a:pt x="1220" y="1046"/>
                  <a:pt x="1220" y="1046"/>
                </a:cubicBezTo>
                <a:cubicBezTo>
                  <a:pt x="1220" y="826"/>
                  <a:pt x="1220" y="826"/>
                  <a:pt x="1220" y="826"/>
                </a:cubicBezTo>
                <a:cubicBezTo>
                  <a:pt x="1020" y="826"/>
                  <a:pt x="1020" y="826"/>
                  <a:pt x="1020" y="826"/>
                </a:cubicBezTo>
                <a:lnTo>
                  <a:pt x="1020" y="1046"/>
                </a:lnTo>
                <a:close/>
                <a:moveTo>
                  <a:pt x="1340" y="1046"/>
                </a:moveTo>
                <a:cubicBezTo>
                  <a:pt x="1540" y="1046"/>
                  <a:pt x="1540" y="1046"/>
                  <a:pt x="1540" y="1046"/>
                </a:cubicBezTo>
                <a:cubicBezTo>
                  <a:pt x="1540" y="826"/>
                  <a:pt x="1540" y="826"/>
                  <a:pt x="1540" y="826"/>
                </a:cubicBezTo>
                <a:cubicBezTo>
                  <a:pt x="1340" y="826"/>
                  <a:pt x="1340" y="826"/>
                  <a:pt x="1340" y="826"/>
                </a:cubicBezTo>
                <a:lnTo>
                  <a:pt x="1340" y="104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2" name="Freeform 101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638349" y="3993531"/>
            <a:ext cx="741134" cy="654536"/>
          </a:xfrm>
          <a:custGeom>
            <a:avLst/>
            <a:gdLst>
              <a:gd name="T0" fmla="*/ 1220 w 2174"/>
              <a:gd name="T1" fmla="*/ 1480 h 1920"/>
              <a:gd name="T2" fmla="*/ 1437 w 2174"/>
              <a:gd name="T3" fmla="*/ 1700 h 1920"/>
              <a:gd name="T4" fmla="*/ 1220 w 2174"/>
              <a:gd name="T5" fmla="*/ 1920 h 1920"/>
              <a:gd name="T6" fmla="*/ 774 w 2174"/>
              <a:gd name="T7" fmla="*/ 1920 h 1920"/>
              <a:gd name="T8" fmla="*/ 557 w 2174"/>
              <a:gd name="T9" fmla="*/ 1700 h 1920"/>
              <a:gd name="T10" fmla="*/ 774 w 2174"/>
              <a:gd name="T11" fmla="*/ 1480 h 1920"/>
              <a:gd name="T12" fmla="*/ 1220 w 2174"/>
              <a:gd name="T13" fmla="*/ 1480 h 1920"/>
              <a:gd name="T14" fmla="*/ 196 w 2174"/>
              <a:gd name="T15" fmla="*/ 1262 h 1920"/>
              <a:gd name="T16" fmla="*/ 636 w 2174"/>
              <a:gd name="T17" fmla="*/ 1185 h 1920"/>
              <a:gd name="T18" fmla="*/ 887 w 2174"/>
              <a:gd name="T19" fmla="*/ 1364 h 1920"/>
              <a:gd name="T20" fmla="*/ 891 w 2174"/>
              <a:gd name="T21" fmla="*/ 1400 h 1920"/>
              <a:gd name="T22" fmla="*/ 774 w 2174"/>
              <a:gd name="T23" fmla="*/ 1400 h 1920"/>
              <a:gd name="T24" fmla="*/ 480 w 2174"/>
              <a:gd name="T25" fmla="*/ 1659 h 1920"/>
              <a:gd name="T26" fmla="*/ 272 w 2174"/>
              <a:gd name="T27" fmla="*/ 1696 h 1920"/>
              <a:gd name="T28" fmla="*/ 21 w 2174"/>
              <a:gd name="T29" fmla="*/ 1516 h 1920"/>
              <a:gd name="T30" fmla="*/ 196 w 2174"/>
              <a:gd name="T31" fmla="*/ 1262 h 1920"/>
              <a:gd name="T32" fmla="*/ 1974 w 2174"/>
              <a:gd name="T33" fmla="*/ 320 h 1920"/>
              <a:gd name="T34" fmla="*/ 2174 w 2174"/>
              <a:gd name="T35" fmla="*/ 520 h 1920"/>
              <a:gd name="T36" fmla="*/ 2174 w 2174"/>
              <a:gd name="T37" fmla="*/ 1521 h 1920"/>
              <a:gd name="T38" fmla="*/ 1974 w 2174"/>
              <a:gd name="T39" fmla="*/ 1720 h 1920"/>
              <a:gd name="T40" fmla="*/ 1516 w 2174"/>
              <a:gd name="T41" fmla="*/ 1720 h 1920"/>
              <a:gd name="T42" fmla="*/ 1220 w 2174"/>
              <a:gd name="T43" fmla="*/ 1400 h 1920"/>
              <a:gd name="T44" fmla="*/ 974 w 2174"/>
              <a:gd name="T45" fmla="*/ 1400 h 1920"/>
              <a:gd name="T46" fmla="*/ 974 w 2174"/>
              <a:gd name="T47" fmla="*/ 520 h 1920"/>
              <a:gd name="T48" fmla="*/ 1174 w 2174"/>
              <a:gd name="T49" fmla="*/ 320 h 1920"/>
              <a:gd name="T50" fmla="*/ 1187 w 2174"/>
              <a:gd name="T51" fmla="*/ 318 h 1920"/>
              <a:gd name="T52" fmla="*/ 1960 w 2174"/>
              <a:gd name="T53" fmla="*/ 318 h 1920"/>
              <a:gd name="T54" fmla="*/ 1974 w 2174"/>
              <a:gd name="T55" fmla="*/ 320 h 1920"/>
              <a:gd name="T56" fmla="*/ 1174 w 2174"/>
              <a:gd name="T57" fmla="*/ 680 h 1920"/>
              <a:gd name="T58" fmla="*/ 1174 w 2174"/>
              <a:gd name="T59" fmla="*/ 1280 h 1920"/>
              <a:gd name="T60" fmla="*/ 1934 w 2174"/>
              <a:gd name="T61" fmla="*/ 1280 h 1920"/>
              <a:gd name="T62" fmla="*/ 1974 w 2174"/>
              <a:gd name="T63" fmla="*/ 1280 h 1920"/>
              <a:gd name="T64" fmla="*/ 1974 w 2174"/>
              <a:gd name="T65" fmla="*/ 1240 h 1920"/>
              <a:gd name="T66" fmla="*/ 1974 w 2174"/>
              <a:gd name="T67" fmla="*/ 680 h 1920"/>
              <a:gd name="T68" fmla="*/ 1174 w 2174"/>
              <a:gd name="T69" fmla="*/ 680 h 1920"/>
              <a:gd name="T70" fmla="*/ 1894 w 2174"/>
              <a:gd name="T71" fmla="*/ 760 h 1920"/>
              <a:gd name="T72" fmla="*/ 1894 w 2174"/>
              <a:gd name="T73" fmla="*/ 1200 h 1920"/>
              <a:gd name="T74" fmla="*/ 1254 w 2174"/>
              <a:gd name="T75" fmla="*/ 1200 h 1920"/>
              <a:gd name="T76" fmla="*/ 1254 w 2174"/>
              <a:gd name="T77" fmla="*/ 760 h 1920"/>
              <a:gd name="T78" fmla="*/ 1894 w 2174"/>
              <a:gd name="T79" fmla="*/ 760 h 1920"/>
              <a:gd name="T80" fmla="*/ 1214 w 2174"/>
              <a:gd name="T81" fmla="*/ 0 h 1920"/>
              <a:gd name="T82" fmla="*/ 1934 w 2174"/>
              <a:gd name="T83" fmla="*/ 0 h 1920"/>
              <a:gd name="T84" fmla="*/ 2054 w 2174"/>
              <a:gd name="T85" fmla="*/ 120 h 1920"/>
              <a:gd name="T86" fmla="*/ 2054 w 2174"/>
              <a:gd name="T87" fmla="*/ 160 h 1920"/>
              <a:gd name="T88" fmla="*/ 1934 w 2174"/>
              <a:gd name="T89" fmla="*/ 280 h 1920"/>
              <a:gd name="T90" fmla="*/ 1214 w 2174"/>
              <a:gd name="T91" fmla="*/ 280 h 1920"/>
              <a:gd name="T92" fmla="*/ 1094 w 2174"/>
              <a:gd name="T93" fmla="*/ 160 h 1920"/>
              <a:gd name="T94" fmla="*/ 1094 w 2174"/>
              <a:gd name="T95" fmla="*/ 120 h 1920"/>
              <a:gd name="T96" fmla="*/ 1214 w 2174"/>
              <a:gd name="T97" fmla="*/ 0 h 1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174" h="1920">
                <a:moveTo>
                  <a:pt x="1220" y="1480"/>
                </a:moveTo>
                <a:cubicBezTo>
                  <a:pt x="1341" y="1480"/>
                  <a:pt x="1437" y="1580"/>
                  <a:pt x="1437" y="1700"/>
                </a:cubicBezTo>
                <a:cubicBezTo>
                  <a:pt x="1437" y="1820"/>
                  <a:pt x="1341" y="1920"/>
                  <a:pt x="1220" y="1920"/>
                </a:cubicBezTo>
                <a:cubicBezTo>
                  <a:pt x="774" y="1920"/>
                  <a:pt x="774" y="1920"/>
                  <a:pt x="774" y="1920"/>
                </a:cubicBezTo>
                <a:cubicBezTo>
                  <a:pt x="653" y="1920"/>
                  <a:pt x="557" y="1820"/>
                  <a:pt x="557" y="1700"/>
                </a:cubicBezTo>
                <a:cubicBezTo>
                  <a:pt x="557" y="1580"/>
                  <a:pt x="653" y="1480"/>
                  <a:pt x="774" y="1480"/>
                </a:cubicBezTo>
                <a:lnTo>
                  <a:pt x="1220" y="1480"/>
                </a:lnTo>
                <a:close/>
                <a:moveTo>
                  <a:pt x="196" y="1262"/>
                </a:moveTo>
                <a:cubicBezTo>
                  <a:pt x="636" y="1185"/>
                  <a:pt x="636" y="1185"/>
                  <a:pt x="636" y="1185"/>
                </a:cubicBezTo>
                <a:cubicBezTo>
                  <a:pt x="755" y="1164"/>
                  <a:pt x="866" y="1246"/>
                  <a:pt x="887" y="1364"/>
                </a:cubicBezTo>
                <a:cubicBezTo>
                  <a:pt x="890" y="1376"/>
                  <a:pt x="890" y="1388"/>
                  <a:pt x="891" y="1400"/>
                </a:cubicBezTo>
                <a:cubicBezTo>
                  <a:pt x="774" y="1400"/>
                  <a:pt x="774" y="1400"/>
                  <a:pt x="774" y="1400"/>
                </a:cubicBezTo>
                <a:cubicBezTo>
                  <a:pt x="625" y="1400"/>
                  <a:pt x="500" y="1512"/>
                  <a:pt x="480" y="1659"/>
                </a:cubicBezTo>
                <a:cubicBezTo>
                  <a:pt x="272" y="1696"/>
                  <a:pt x="272" y="1696"/>
                  <a:pt x="272" y="1696"/>
                </a:cubicBezTo>
                <a:cubicBezTo>
                  <a:pt x="153" y="1716"/>
                  <a:pt x="42" y="1634"/>
                  <a:pt x="21" y="1516"/>
                </a:cubicBezTo>
                <a:cubicBezTo>
                  <a:pt x="0" y="1398"/>
                  <a:pt x="77" y="1283"/>
                  <a:pt x="196" y="1262"/>
                </a:cubicBezTo>
                <a:close/>
                <a:moveTo>
                  <a:pt x="1974" y="320"/>
                </a:moveTo>
                <a:cubicBezTo>
                  <a:pt x="2084" y="320"/>
                  <a:pt x="2174" y="410"/>
                  <a:pt x="2174" y="520"/>
                </a:cubicBezTo>
                <a:cubicBezTo>
                  <a:pt x="2174" y="1521"/>
                  <a:pt x="2174" y="1521"/>
                  <a:pt x="2174" y="1521"/>
                </a:cubicBezTo>
                <a:cubicBezTo>
                  <a:pt x="2174" y="1631"/>
                  <a:pt x="2084" y="1720"/>
                  <a:pt x="1974" y="1720"/>
                </a:cubicBezTo>
                <a:cubicBezTo>
                  <a:pt x="1516" y="1720"/>
                  <a:pt x="1516" y="1720"/>
                  <a:pt x="1516" y="1720"/>
                </a:cubicBezTo>
                <a:cubicBezTo>
                  <a:pt x="1528" y="1549"/>
                  <a:pt x="1393" y="1400"/>
                  <a:pt x="1220" y="1400"/>
                </a:cubicBezTo>
                <a:cubicBezTo>
                  <a:pt x="974" y="1400"/>
                  <a:pt x="974" y="1400"/>
                  <a:pt x="974" y="1400"/>
                </a:cubicBezTo>
                <a:cubicBezTo>
                  <a:pt x="974" y="520"/>
                  <a:pt x="974" y="520"/>
                  <a:pt x="974" y="520"/>
                </a:cubicBezTo>
                <a:cubicBezTo>
                  <a:pt x="974" y="410"/>
                  <a:pt x="1064" y="320"/>
                  <a:pt x="1174" y="320"/>
                </a:cubicBezTo>
                <a:cubicBezTo>
                  <a:pt x="1178" y="320"/>
                  <a:pt x="1183" y="319"/>
                  <a:pt x="1187" y="318"/>
                </a:cubicBezTo>
                <a:cubicBezTo>
                  <a:pt x="1960" y="318"/>
                  <a:pt x="1960" y="318"/>
                  <a:pt x="1960" y="318"/>
                </a:cubicBezTo>
                <a:cubicBezTo>
                  <a:pt x="1964" y="319"/>
                  <a:pt x="1969" y="320"/>
                  <a:pt x="1974" y="320"/>
                </a:cubicBezTo>
                <a:close/>
                <a:moveTo>
                  <a:pt x="1174" y="680"/>
                </a:moveTo>
                <a:cubicBezTo>
                  <a:pt x="1174" y="1280"/>
                  <a:pt x="1174" y="1280"/>
                  <a:pt x="1174" y="1280"/>
                </a:cubicBezTo>
                <a:cubicBezTo>
                  <a:pt x="1934" y="1280"/>
                  <a:pt x="1934" y="1280"/>
                  <a:pt x="1934" y="1280"/>
                </a:cubicBezTo>
                <a:cubicBezTo>
                  <a:pt x="1974" y="1280"/>
                  <a:pt x="1974" y="1280"/>
                  <a:pt x="1974" y="1280"/>
                </a:cubicBezTo>
                <a:cubicBezTo>
                  <a:pt x="1974" y="1240"/>
                  <a:pt x="1974" y="1240"/>
                  <a:pt x="1974" y="1240"/>
                </a:cubicBezTo>
                <a:cubicBezTo>
                  <a:pt x="1974" y="680"/>
                  <a:pt x="1974" y="680"/>
                  <a:pt x="1974" y="680"/>
                </a:cubicBezTo>
                <a:lnTo>
                  <a:pt x="1174" y="680"/>
                </a:lnTo>
                <a:close/>
                <a:moveTo>
                  <a:pt x="1894" y="760"/>
                </a:moveTo>
                <a:cubicBezTo>
                  <a:pt x="1894" y="1200"/>
                  <a:pt x="1894" y="1200"/>
                  <a:pt x="1894" y="1200"/>
                </a:cubicBezTo>
                <a:cubicBezTo>
                  <a:pt x="1254" y="1200"/>
                  <a:pt x="1254" y="1200"/>
                  <a:pt x="1254" y="1200"/>
                </a:cubicBezTo>
                <a:cubicBezTo>
                  <a:pt x="1254" y="760"/>
                  <a:pt x="1254" y="760"/>
                  <a:pt x="1254" y="760"/>
                </a:cubicBezTo>
                <a:lnTo>
                  <a:pt x="1894" y="760"/>
                </a:lnTo>
                <a:close/>
                <a:moveTo>
                  <a:pt x="1214" y="0"/>
                </a:moveTo>
                <a:cubicBezTo>
                  <a:pt x="1934" y="0"/>
                  <a:pt x="1934" y="0"/>
                  <a:pt x="1934" y="0"/>
                </a:cubicBezTo>
                <a:cubicBezTo>
                  <a:pt x="2000" y="0"/>
                  <a:pt x="2054" y="54"/>
                  <a:pt x="2054" y="120"/>
                </a:cubicBezTo>
                <a:cubicBezTo>
                  <a:pt x="2054" y="160"/>
                  <a:pt x="2054" y="160"/>
                  <a:pt x="2054" y="160"/>
                </a:cubicBezTo>
                <a:cubicBezTo>
                  <a:pt x="2054" y="226"/>
                  <a:pt x="2000" y="280"/>
                  <a:pt x="1934" y="280"/>
                </a:cubicBezTo>
                <a:cubicBezTo>
                  <a:pt x="1214" y="280"/>
                  <a:pt x="1214" y="280"/>
                  <a:pt x="1214" y="280"/>
                </a:cubicBezTo>
                <a:cubicBezTo>
                  <a:pt x="1148" y="280"/>
                  <a:pt x="1094" y="226"/>
                  <a:pt x="1094" y="160"/>
                </a:cubicBezTo>
                <a:cubicBezTo>
                  <a:pt x="1094" y="120"/>
                  <a:pt x="1094" y="120"/>
                  <a:pt x="1094" y="120"/>
                </a:cubicBezTo>
                <a:cubicBezTo>
                  <a:pt x="1094" y="54"/>
                  <a:pt x="1148" y="0"/>
                  <a:pt x="1214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" name="Freeform 22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4129805" y="3970393"/>
            <a:ext cx="892003" cy="658808"/>
          </a:xfrm>
          <a:custGeom>
            <a:avLst/>
            <a:gdLst>
              <a:gd name="T0" fmla="*/ 4413 w 5424"/>
              <a:gd name="T1" fmla="*/ 2610 h 4006"/>
              <a:gd name="T2" fmla="*/ 4413 w 5424"/>
              <a:gd name="T3" fmla="*/ 3628 h 4006"/>
              <a:gd name="T4" fmla="*/ 4980 w 5424"/>
              <a:gd name="T5" fmla="*/ 3628 h 4006"/>
              <a:gd name="T6" fmla="*/ 4980 w 5424"/>
              <a:gd name="T7" fmla="*/ 2421 h 4006"/>
              <a:gd name="T8" fmla="*/ 4602 w 5424"/>
              <a:gd name="T9" fmla="*/ 2799 h 4006"/>
              <a:gd name="T10" fmla="*/ 4413 w 5424"/>
              <a:gd name="T11" fmla="*/ 2610 h 4006"/>
              <a:gd name="T12" fmla="*/ 3090 w 5424"/>
              <a:gd name="T13" fmla="*/ 4006 h 4006"/>
              <a:gd name="T14" fmla="*/ 3657 w 5424"/>
              <a:gd name="T15" fmla="*/ 4006 h 4006"/>
              <a:gd name="T16" fmla="*/ 3657 w 5424"/>
              <a:gd name="T17" fmla="*/ 2494 h 4006"/>
              <a:gd name="T18" fmla="*/ 3090 w 5424"/>
              <a:gd name="T19" fmla="*/ 2494 h 4006"/>
              <a:gd name="T20" fmla="*/ 3090 w 5424"/>
              <a:gd name="T21" fmla="*/ 4006 h 4006"/>
              <a:gd name="T22" fmla="*/ 1578 w 5424"/>
              <a:gd name="T23" fmla="*/ 2305 h 4006"/>
              <a:gd name="T24" fmla="*/ 1578 w 5424"/>
              <a:gd name="T25" fmla="*/ 3250 h 4006"/>
              <a:gd name="T26" fmla="*/ 2712 w 5424"/>
              <a:gd name="T27" fmla="*/ 3250 h 4006"/>
              <a:gd name="T28" fmla="*/ 2712 w 5424"/>
              <a:gd name="T29" fmla="*/ 2305 h 4006"/>
              <a:gd name="T30" fmla="*/ 1578 w 5424"/>
              <a:gd name="T31" fmla="*/ 2305 h 4006"/>
              <a:gd name="T32" fmla="*/ 2523 w 5424"/>
              <a:gd name="T33" fmla="*/ 2494 h 4006"/>
              <a:gd name="T34" fmla="*/ 2523 w 5424"/>
              <a:gd name="T35" fmla="*/ 3061 h 4006"/>
              <a:gd name="T36" fmla="*/ 1767 w 5424"/>
              <a:gd name="T37" fmla="*/ 3061 h 4006"/>
              <a:gd name="T38" fmla="*/ 1767 w 5424"/>
              <a:gd name="T39" fmla="*/ 2494 h 4006"/>
              <a:gd name="T40" fmla="*/ 2523 w 5424"/>
              <a:gd name="T41" fmla="*/ 2494 h 4006"/>
              <a:gd name="T42" fmla="*/ 756 w 5424"/>
              <a:gd name="T43" fmla="*/ 2334 h 4006"/>
              <a:gd name="T44" fmla="*/ 2712 w 5424"/>
              <a:gd name="T45" fmla="*/ 389 h 4006"/>
              <a:gd name="T46" fmla="*/ 4668 w 5424"/>
              <a:gd name="T47" fmla="*/ 2334 h 4006"/>
              <a:gd name="T48" fmla="*/ 4535 w 5424"/>
              <a:gd name="T49" fmla="*/ 2466 h 4006"/>
              <a:gd name="T50" fmla="*/ 4224 w 5424"/>
              <a:gd name="T51" fmla="*/ 2156 h 4006"/>
              <a:gd name="T52" fmla="*/ 4224 w 5424"/>
              <a:gd name="T53" fmla="*/ 4006 h 4006"/>
              <a:gd name="T54" fmla="*/ 3846 w 5424"/>
              <a:gd name="T55" fmla="*/ 4006 h 4006"/>
              <a:gd name="T56" fmla="*/ 3846 w 5424"/>
              <a:gd name="T57" fmla="*/ 2305 h 4006"/>
              <a:gd name="T58" fmla="*/ 2901 w 5424"/>
              <a:gd name="T59" fmla="*/ 2305 h 4006"/>
              <a:gd name="T60" fmla="*/ 2901 w 5424"/>
              <a:gd name="T61" fmla="*/ 4006 h 4006"/>
              <a:gd name="T62" fmla="*/ 1200 w 5424"/>
              <a:gd name="T63" fmla="*/ 4006 h 4006"/>
              <a:gd name="T64" fmla="*/ 1200 w 5424"/>
              <a:gd name="T65" fmla="*/ 2156 h 4006"/>
              <a:gd name="T66" fmla="*/ 889 w 5424"/>
              <a:gd name="T67" fmla="*/ 2466 h 4006"/>
              <a:gd name="T68" fmla="*/ 756 w 5424"/>
              <a:gd name="T69" fmla="*/ 2334 h 4006"/>
              <a:gd name="T70" fmla="*/ 4980 w 5424"/>
              <a:gd name="T71" fmla="*/ 2376 h 4006"/>
              <a:gd name="T72" fmla="*/ 4980 w 5424"/>
              <a:gd name="T73" fmla="*/ 1871 h 4006"/>
              <a:gd name="T74" fmla="*/ 5291 w 5424"/>
              <a:gd name="T75" fmla="*/ 2182 h 4006"/>
              <a:gd name="T76" fmla="*/ 5424 w 5424"/>
              <a:gd name="T77" fmla="*/ 2050 h 4006"/>
              <a:gd name="T78" fmla="*/ 3562 w 5424"/>
              <a:gd name="T79" fmla="*/ 189 h 4006"/>
              <a:gd name="T80" fmla="*/ 3170 w 5424"/>
              <a:gd name="T81" fmla="*/ 578 h 4006"/>
              <a:gd name="T82" fmla="*/ 4980 w 5424"/>
              <a:gd name="T83" fmla="*/ 2376 h 4006"/>
              <a:gd name="T84" fmla="*/ 1011 w 5424"/>
              <a:gd name="T85" fmla="*/ 3250 h 4006"/>
              <a:gd name="T86" fmla="*/ 445 w 5424"/>
              <a:gd name="T87" fmla="*/ 3250 h 4006"/>
              <a:gd name="T88" fmla="*/ 445 w 5424"/>
              <a:gd name="T89" fmla="*/ 2421 h 4006"/>
              <a:gd name="T90" fmla="*/ 822 w 5424"/>
              <a:gd name="T91" fmla="*/ 2799 h 4006"/>
              <a:gd name="T92" fmla="*/ 1011 w 5424"/>
              <a:gd name="T93" fmla="*/ 2610 h 4006"/>
              <a:gd name="T94" fmla="*/ 1011 w 5424"/>
              <a:gd name="T95" fmla="*/ 3250 h 4006"/>
              <a:gd name="T96" fmla="*/ 445 w 5424"/>
              <a:gd name="T97" fmla="*/ 2376 h 4006"/>
              <a:gd name="T98" fmla="*/ 445 w 5424"/>
              <a:gd name="T99" fmla="*/ 1587 h 4006"/>
              <a:gd name="T100" fmla="*/ 133 w 5424"/>
              <a:gd name="T101" fmla="*/ 1899 h 4006"/>
              <a:gd name="T102" fmla="*/ 0 w 5424"/>
              <a:gd name="T103" fmla="*/ 1767 h 4006"/>
              <a:gd name="T104" fmla="*/ 1767 w 5424"/>
              <a:gd name="T105" fmla="*/ 0 h 4006"/>
              <a:gd name="T106" fmla="*/ 2301 w 5424"/>
              <a:gd name="T107" fmla="*/ 531 h 4006"/>
              <a:gd name="T108" fmla="*/ 445 w 5424"/>
              <a:gd name="T109" fmla="*/ 2376 h 40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424" h="4006">
                <a:moveTo>
                  <a:pt x="4413" y="2610"/>
                </a:moveTo>
                <a:lnTo>
                  <a:pt x="4413" y="3628"/>
                </a:lnTo>
                <a:lnTo>
                  <a:pt x="4980" y="3628"/>
                </a:lnTo>
                <a:lnTo>
                  <a:pt x="4980" y="2421"/>
                </a:lnTo>
                <a:lnTo>
                  <a:pt x="4602" y="2799"/>
                </a:lnTo>
                <a:lnTo>
                  <a:pt x="4413" y="2610"/>
                </a:lnTo>
                <a:close/>
                <a:moveTo>
                  <a:pt x="3090" y="4006"/>
                </a:moveTo>
                <a:lnTo>
                  <a:pt x="3657" y="4006"/>
                </a:lnTo>
                <a:lnTo>
                  <a:pt x="3657" y="2494"/>
                </a:lnTo>
                <a:lnTo>
                  <a:pt x="3090" y="2494"/>
                </a:lnTo>
                <a:lnTo>
                  <a:pt x="3090" y="4006"/>
                </a:lnTo>
                <a:close/>
                <a:moveTo>
                  <a:pt x="1578" y="2305"/>
                </a:moveTo>
                <a:lnTo>
                  <a:pt x="1578" y="3250"/>
                </a:lnTo>
                <a:lnTo>
                  <a:pt x="2712" y="3250"/>
                </a:lnTo>
                <a:lnTo>
                  <a:pt x="2712" y="2305"/>
                </a:lnTo>
                <a:lnTo>
                  <a:pt x="1578" y="2305"/>
                </a:lnTo>
                <a:close/>
                <a:moveTo>
                  <a:pt x="2523" y="2494"/>
                </a:moveTo>
                <a:lnTo>
                  <a:pt x="2523" y="3061"/>
                </a:lnTo>
                <a:lnTo>
                  <a:pt x="1767" y="3061"/>
                </a:lnTo>
                <a:lnTo>
                  <a:pt x="1767" y="2494"/>
                </a:lnTo>
                <a:lnTo>
                  <a:pt x="2523" y="2494"/>
                </a:lnTo>
                <a:close/>
                <a:moveTo>
                  <a:pt x="756" y="2334"/>
                </a:moveTo>
                <a:lnTo>
                  <a:pt x="2712" y="389"/>
                </a:lnTo>
                <a:lnTo>
                  <a:pt x="4668" y="2334"/>
                </a:lnTo>
                <a:lnTo>
                  <a:pt x="4535" y="2466"/>
                </a:lnTo>
                <a:lnTo>
                  <a:pt x="4224" y="2156"/>
                </a:lnTo>
                <a:lnTo>
                  <a:pt x="4224" y="4006"/>
                </a:lnTo>
                <a:lnTo>
                  <a:pt x="3846" y="4006"/>
                </a:lnTo>
                <a:lnTo>
                  <a:pt x="3846" y="2305"/>
                </a:lnTo>
                <a:lnTo>
                  <a:pt x="2901" y="2305"/>
                </a:lnTo>
                <a:lnTo>
                  <a:pt x="2901" y="4006"/>
                </a:lnTo>
                <a:lnTo>
                  <a:pt x="1200" y="4006"/>
                </a:lnTo>
                <a:lnTo>
                  <a:pt x="1200" y="2156"/>
                </a:lnTo>
                <a:lnTo>
                  <a:pt x="889" y="2466"/>
                </a:lnTo>
                <a:lnTo>
                  <a:pt x="756" y="2334"/>
                </a:lnTo>
                <a:close/>
                <a:moveTo>
                  <a:pt x="4980" y="2376"/>
                </a:moveTo>
                <a:lnTo>
                  <a:pt x="4980" y="1871"/>
                </a:lnTo>
                <a:lnTo>
                  <a:pt x="5291" y="2182"/>
                </a:lnTo>
                <a:lnTo>
                  <a:pt x="5424" y="2050"/>
                </a:lnTo>
                <a:lnTo>
                  <a:pt x="3562" y="189"/>
                </a:lnTo>
                <a:lnTo>
                  <a:pt x="3170" y="578"/>
                </a:lnTo>
                <a:lnTo>
                  <a:pt x="4980" y="2376"/>
                </a:lnTo>
                <a:close/>
                <a:moveTo>
                  <a:pt x="1011" y="3250"/>
                </a:moveTo>
                <a:lnTo>
                  <a:pt x="445" y="3250"/>
                </a:lnTo>
                <a:lnTo>
                  <a:pt x="445" y="2421"/>
                </a:lnTo>
                <a:lnTo>
                  <a:pt x="822" y="2799"/>
                </a:lnTo>
                <a:lnTo>
                  <a:pt x="1011" y="2610"/>
                </a:lnTo>
                <a:lnTo>
                  <a:pt x="1011" y="3250"/>
                </a:lnTo>
                <a:close/>
                <a:moveTo>
                  <a:pt x="445" y="2376"/>
                </a:moveTo>
                <a:lnTo>
                  <a:pt x="445" y="1587"/>
                </a:lnTo>
                <a:lnTo>
                  <a:pt x="133" y="1899"/>
                </a:lnTo>
                <a:lnTo>
                  <a:pt x="0" y="1767"/>
                </a:lnTo>
                <a:lnTo>
                  <a:pt x="1767" y="0"/>
                </a:lnTo>
                <a:lnTo>
                  <a:pt x="2301" y="531"/>
                </a:lnTo>
                <a:lnTo>
                  <a:pt x="445" y="237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4" name="Freeform 31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1293850" y="3993531"/>
            <a:ext cx="415040" cy="635670"/>
          </a:xfrm>
          <a:custGeom>
            <a:avLst/>
            <a:gdLst>
              <a:gd name="T0" fmla="*/ 400 w 1280"/>
              <a:gd name="T1" fmla="*/ 0 h 1960"/>
              <a:gd name="T2" fmla="*/ 880 w 1280"/>
              <a:gd name="T3" fmla="*/ 0 h 1960"/>
              <a:gd name="T4" fmla="*/ 1280 w 1280"/>
              <a:gd name="T5" fmla="*/ 400 h 1960"/>
              <a:gd name="T6" fmla="*/ 1280 w 1280"/>
              <a:gd name="T7" fmla="*/ 1320 h 1960"/>
              <a:gd name="T8" fmla="*/ 640 w 1280"/>
              <a:gd name="T9" fmla="*/ 1960 h 1960"/>
              <a:gd name="T10" fmla="*/ 0 w 1280"/>
              <a:gd name="T11" fmla="*/ 1320 h 1960"/>
              <a:gd name="T12" fmla="*/ 0 w 1280"/>
              <a:gd name="T13" fmla="*/ 400 h 1960"/>
              <a:gd name="T14" fmla="*/ 400 w 1280"/>
              <a:gd name="T15" fmla="*/ 0 h 1960"/>
              <a:gd name="T16" fmla="*/ 640 w 1280"/>
              <a:gd name="T17" fmla="*/ 160 h 1960"/>
              <a:gd name="T18" fmla="*/ 560 w 1280"/>
              <a:gd name="T19" fmla="*/ 240 h 1960"/>
              <a:gd name="T20" fmla="*/ 560 w 1280"/>
              <a:gd name="T21" fmla="*/ 480 h 1960"/>
              <a:gd name="T22" fmla="*/ 640 w 1280"/>
              <a:gd name="T23" fmla="*/ 560 h 1960"/>
              <a:gd name="T24" fmla="*/ 720 w 1280"/>
              <a:gd name="T25" fmla="*/ 480 h 1960"/>
              <a:gd name="T26" fmla="*/ 720 w 1280"/>
              <a:gd name="T27" fmla="*/ 240 h 1960"/>
              <a:gd name="T28" fmla="*/ 640 w 1280"/>
              <a:gd name="T29" fmla="*/ 160 h 1960"/>
              <a:gd name="T30" fmla="*/ 80 w 1280"/>
              <a:gd name="T31" fmla="*/ 640 h 1960"/>
              <a:gd name="T32" fmla="*/ 80 w 1280"/>
              <a:gd name="T33" fmla="*/ 720 h 1960"/>
              <a:gd name="T34" fmla="*/ 1200 w 1280"/>
              <a:gd name="T35" fmla="*/ 720 h 1960"/>
              <a:gd name="T36" fmla="*/ 1200 w 1280"/>
              <a:gd name="T37" fmla="*/ 640 h 1960"/>
              <a:gd name="T38" fmla="*/ 80 w 1280"/>
              <a:gd name="T39" fmla="*/ 640 h 1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80" h="1960">
                <a:moveTo>
                  <a:pt x="400" y="0"/>
                </a:moveTo>
                <a:cubicBezTo>
                  <a:pt x="880" y="0"/>
                  <a:pt x="880" y="0"/>
                  <a:pt x="880" y="0"/>
                </a:cubicBezTo>
                <a:cubicBezTo>
                  <a:pt x="1101" y="0"/>
                  <a:pt x="1280" y="179"/>
                  <a:pt x="1280" y="400"/>
                </a:cubicBezTo>
                <a:cubicBezTo>
                  <a:pt x="1280" y="1320"/>
                  <a:pt x="1280" y="1320"/>
                  <a:pt x="1280" y="1320"/>
                </a:cubicBezTo>
                <a:cubicBezTo>
                  <a:pt x="1280" y="1674"/>
                  <a:pt x="994" y="1960"/>
                  <a:pt x="640" y="1960"/>
                </a:cubicBezTo>
                <a:cubicBezTo>
                  <a:pt x="286" y="1960"/>
                  <a:pt x="0" y="1674"/>
                  <a:pt x="0" y="1320"/>
                </a:cubicBezTo>
                <a:cubicBezTo>
                  <a:pt x="0" y="400"/>
                  <a:pt x="0" y="400"/>
                  <a:pt x="0" y="400"/>
                </a:cubicBezTo>
                <a:cubicBezTo>
                  <a:pt x="0" y="179"/>
                  <a:pt x="179" y="0"/>
                  <a:pt x="400" y="0"/>
                </a:cubicBezTo>
                <a:close/>
                <a:moveTo>
                  <a:pt x="640" y="160"/>
                </a:moveTo>
                <a:cubicBezTo>
                  <a:pt x="596" y="160"/>
                  <a:pt x="560" y="196"/>
                  <a:pt x="560" y="240"/>
                </a:cubicBezTo>
                <a:cubicBezTo>
                  <a:pt x="560" y="480"/>
                  <a:pt x="560" y="480"/>
                  <a:pt x="560" y="480"/>
                </a:cubicBezTo>
                <a:cubicBezTo>
                  <a:pt x="560" y="524"/>
                  <a:pt x="596" y="560"/>
                  <a:pt x="640" y="560"/>
                </a:cubicBezTo>
                <a:cubicBezTo>
                  <a:pt x="684" y="560"/>
                  <a:pt x="720" y="524"/>
                  <a:pt x="720" y="480"/>
                </a:cubicBezTo>
                <a:cubicBezTo>
                  <a:pt x="720" y="240"/>
                  <a:pt x="720" y="240"/>
                  <a:pt x="720" y="240"/>
                </a:cubicBezTo>
                <a:cubicBezTo>
                  <a:pt x="720" y="196"/>
                  <a:pt x="684" y="160"/>
                  <a:pt x="640" y="160"/>
                </a:cubicBezTo>
                <a:close/>
                <a:moveTo>
                  <a:pt x="80" y="640"/>
                </a:moveTo>
                <a:cubicBezTo>
                  <a:pt x="80" y="720"/>
                  <a:pt x="80" y="720"/>
                  <a:pt x="80" y="720"/>
                </a:cubicBezTo>
                <a:cubicBezTo>
                  <a:pt x="1200" y="720"/>
                  <a:pt x="1200" y="720"/>
                  <a:pt x="1200" y="720"/>
                </a:cubicBezTo>
                <a:cubicBezTo>
                  <a:pt x="1200" y="640"/>
                  <a:pt x="1200" y="640"/>
                  <a:pt x="1200" y="640"/>
                </a:cubicBezTo>
                <a:cubicBezTo>
                  <a:pt x="827" y="640"/>
                  <a:pt x="453" y="640"/>
                  <a:pt x="80" y="64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5" name="Freeform 187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2661549" y="3956342"/>
            <a:ext cx="809687" cy="691725"/>
          </a:xfrm>
          <a:custGeom>
            <a:avLst/>
            <a:gdLst>
              <a:gd name="T0" fmla="*/ 210 w 2092"/>
              <a:gd name="T1" fmla="*/ 424 h 1787"/>
              <a:gd name="T2" fmla="*/ 228 w 2092"/>
              <a:gd name="T3" fmla="*/ 406 h 1787"/>
              <a:gd name="T4" fmla="*/ 1025 w 2092"/>
              <a:gd name="T5" fmla="*/ 8 h 1787"/>
              <a:gd name="T6" fmla="*/ 1067 w 2092"/>
              <a:gd name="T7" fmla="*/ 8 h 1787"/>
              <a:gd name="T8" fmla="*/ 1864 w 2092"/>
              <a:gd name="T9" fmla="*/ 406 h 1787"/>
              <a:gd name="T10" fmla="*/ 1883 w 2092"/>
              <a:gd name="T11" fmla="*/ 427 h 1787"/>
              <a:gd name="T12" fmla="*/ 2082 w 2092"/>
              <a:gd name="T13" fmla="*/ 824 h 1787"/>
              <a:gd name="T14" fmla="*/ 2064 w 2092"/>
              <a:gd name="T15" fmla="*/ 878 h 1787"/>
              <a:gd name="T16" fmla="*/ 1264 w 2092"/>
              <a:gd name="T17" fmla="*/ 1278 h 1787"/>
              <a:gd name="T18" fmla="*/ 1211 w 2092"/>
              <a:gd name="T19" fmla="*/ 1261 h 1787"/>
              <a:gd name="T20" fmla="*/ 1011 w 2092"/>
              <a:gd name="T21" fmla="*/ 901 h 1787"/>
              <a:gd name="T22" fmla="*/ 1006 w 2092"/>
              <a:gd name="T23" fmla="*/ 884 h 1787"/>
              <a:gd name="T24" fmla="*/ 1006 w 2092"/>
              <a:gd name="T25" fmla="*/ 1787 h 1787"/>
              <a:gd name="T26" fmla="*/ 228 w 2092"/>
              <a:gd name="T27" fmla="*/ 1398 h 1787"/>
              <a:gd name="T28" fmla="*/ 206 w 2092"/>
              <a:gd name="T29" fmla="*/ 1362 h 1787"/>
              <a:gd name="T30" fmla="*/ 206 w 2092"/>
              <a:gd name="T31" fmla="*/ 611 h 1787"/>
              <a:gd name="T32" fmla="*/ 126 w 2092"/>
              <a:gd name="T33" fmla="*/ 769 h 1787"/>
              <a:gd name="T34" fmla="*/ 126 w 2092"/>
              <a:gd name="T35" fmla="*/ 846 h 1787"/>
              <a:gd name="T36" fmla="*/ 64 w 2092"/>
              <a:gd name="T37" fmla="*/ 878 h 1787"/>
              <a:gd name="T38" fmla="*/ 28 w 2092"/>
              <a:gd name="T39" fmla="*/ 878 h 1787"/>
              <a:gd name="T40" fmla="*/ 10 w 2092"/>
              <a:gd name="T41" fmla="*/ 824 h 1787"/>
              <a:gd name="T42" fmla="*/ 210 w 2092"/>
              <a:gd name="T43" fmla="*/ 424 h 1787"/>
              <a:gd name="T44" fmla="*/ 295 w 2092"/>
              <a:gd name="T45" fmla="*/ 462 h 1787"/>
              <a:gd name="T46" fmla="*/ 1046 w 2092"/>
              <a:gd name="T47" fmla="*/ 838 h 1787"/>
              <a:gd name="T48" fmla="*/ 1797 w 2092"/>
              <a:gd name="T49" fmla="*/ 462 h 1787"/>
              <a:gd name="T50" fmla="*/ 1086 w 2092"/>
              <a:gd name="T51" fmla="*/ 106 h 1787"/>
              <a:gd name="T52" fmla="*/ 1086 w 2092"/>
              <a:gd name="T53" fmla="*/ 639 h 1787"/>
              <a:gd name="T54" fmla="*/ 1046 w 2092"/>
              <a:gd name="T55" fmla="*/ 659 h 1787"/>
              <a:gd name="T56" fmla="*/ 1006 w 2092"/>
              <a:gd name="T57" fmla="*/ 639 h 1787"/>
              <a:gd name="T58" fmla="*/ 1006 w 2092"/>
              <a:gd name="T59" fmla="*/ 106 h 1787"/>
              <a:gd name="T60" fmla="*/ 295 w 2092"/>
              <a:gd name="T61" fmla="*/ 462 h 1787"/>
              <a:gd name="T62" fmla="*/ 1886 w 2092"/>
              <a:gd name="T63" fmla="*/ 1056 h 1787"/>
              <a:gd name="T64" fmla="*/ 1886 w 2092"/>
              <a:gd name="T65" fmla="*/ 1362 h 1787"/>
              <a:gd name="T66" fmla="*/ 1860 w 2092"/>
              <a:gd name="T67" fmla="*/ 1399 h 1787"/>
              <a:gd name="T68" fmla="*/ 1086 w 2092"/>
              <a:gd name="T69" fmla="*/ 1786 h 1787"/>
              <a:gd name="T70" fmla="*/ 1086 w 2092"/>
              <a:gd name="T71" fmla="*/ 1200 h 1787"/>
              <a:gd name="T72" fmla="*/ 1141 w 2092"/>
              <a:gd name="T73" fmla="*/ 1300 h 1787"/>
              <a:gd name="T74" fmla="*/ 1300 w 2092"/>
              <a:gd name="T75" fmla="*/ 1349 h 1787"/>
              <a:gd name="T76" fmla="*/ 1886 w 2092"/>
              <a:gd name="T77" fmla="*/ 1056 h 17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92" h="1787">
                <a:moveTo>
                  <a:pt x="210" y="424"/>
                </a:moveTo>
                <a:cubicBezTo>
                  <a:pt x="214" y="416"/>
                  <a:pt x="220" y="410"/>
                  <a:pt x="228" y="406"/>
                </a:cubicBezTo>
                <a:cubicBezTo>
                  <a:pt x="1025" y="8"/>
                  <a:pt x="1025" y="8"/>
                  <a:pt x="1025" y="8"/>
                </a:cubicBezTo>
                <a:cubicBezTo>
                  <a:pt x="1038" y="0"/>
                  <a:pt x="1054" y="0"/>
                  <a:pt x="1067" y="8"/>
                </a:cubicBezTo>
                <a:cubicBezTo>
                  <a:pt x="1864" y="406"/>
                  <a:pt x="1864" y="406"/>
                  <a:pt x="1864" y="406"/>
                </a:cubicBezTo>
                <a:cubicBezTo>
                  <a:pt x="1872" y="411"/>
                  <a:pt x="1879" y="418"/>
                  <a:pt x="1883" y="427"/>
                </a:cubicBezTo>
                <a:cubicBezTo>
                  <a:pt x="2082" y="824"/>
                  <a:pt x="2082" y="824"/>
                  <a:pt x="2082" y="824"/>
                </a:cubicBezTo>
                <a:cubicBezTo>
                  <a:pt x="2092" y="844"/>
                  <a:pt x="2084" y="868"/>
                  <a:pt x="2064" y="878"/>
                </a:cubicBezTo>
                <a:cubicBezTo>
                  <a:pt x="1264" y="1278"/>
                  <a:pt x="1264" y="1278"/>
                  <a:pt x="1264" y="1278"/>
                </a:cubicBezTo>
                <a:cubicBezTo>
                  <a:pt x="1245" y="1287"/>
                  <a:pt x="1218" y="1273"/>
                  <a:pt x="1211" y="1261"/>
                </a:cubicBezTo>
                <a:cubicBezTo>
                  <a:pt x="1011" y="901"/>
                  <a:pt x="1011" y="901"/>
                  <a:pt x="1011" y="901"/>
                </a:cubicBezTo>
                <a:cubicBezTo>
                  <a:pt x="1008" y="896"/>
                  <a:pt x="1006" y="890"/>
                  <a:pt x="1006" y="884"/>
                </a:cubicBezTo>
                <a:cubicBezTo>
                  <a:pt x="1006" y="1787"/>
                  <a:pt x="1006" y="1787"/>
                  <a:pt x="1006" y="1787"/>
                </a:cubicBezTo>
                <a:cubicBezTo>
                  <a:pt x="228" y="1398"/>
                  <a:pt x="228" y="1398"/>
                  <a:pt x="228" y="1398"/>
                </a:cubicBezTo>
                <a:cubicBezTo>
                  <a:pt x="214" y="1391"/>
                  <a:pt x="206" y="1376"/>
                  <a:pt x="206" y="1362"/>
                </a:cubicBezTo>
                <a:cubicBezTo>
                  <a:pt x="206" y="611"/>
                  <a:pt x="206" y="611"/>
                  <a:pt x="206" y="611"/>
                </a:cubicBezTo>
                <a:cubicBezTo>
                  <a:pt x="126" y="769"/>
                  <a:pt x="126" y="769"/>
                  <a:pt x="126" y="769"/>
                </a:cubicBezTo>
                <a:cubicBezTo>
                  <a:pt x="126" y="846"/>
                  <a:pt x="126" y="846"/>
                  <a:pt x="126" y="846"/>
                </a:cubicBezTo>
                <a:cubicBezTo>
                  <a:pt x="64" y="878"/>
                  <a:pt x="64" y="878"/>
                  <a:pt x="64" y="878"/>
                </a:cubicBezTo>
                <a:cubicBezTo>
                  <a:pt x="53" y="883"/>
                  <a:pt x="40" y="884"/>
                  <a:pt x="28" y="878"/>
                </a:cubicBezTo>
                <a:cubicBezTo>
                  <a:pt x="8" y="868"/>
                  <a:pt x="0" y="844"/>
                  <a:pt x="10" y="824"/>
                </a:cubicBezTo>
                <a:lnTo>
                  <a:pt x="210" y="424"/>
                </a:lnTo>
                <a:close/>
                <a:moveTo>
                  <a:pt x="295" y="462"/>
                </a:moveTo>
                <a:cubicBezTo>
                  <a:pt x="1046" y="838"/>
                  <a:pt x="1046" y="838"/>
                  <a:pt x="1046" y="838"/>
                </a:cubicBezTo>
                <a:cubicBezTo>
                  <a:pt x="1319" y="702"/>
                  <a:pt x="1534" y="594"/>
                  <a:pt x="1797" y="462"/>
                </a:cubicBezTo>
                <a:cubicBezTo>
                  <a:pt x="1086" y="106"/>
                  <a:pt x="1086" y="106"/>
                  <a:pt x="1086" y="106"/>
                </a:cubicBezTo>
                <a:cubicBezTo>
                  <a:pt x="1086" y="639"/>
                  <a:pt x="1086" y="639"/>
                  <a:pt x="1086" y="639"/>
                </a:cubicBezTo>
                <a:cubicBezTo>
                  <a:pt x="1046" y="659"/>
                  <a:pt x="1046" y="659"/>
                  <a:pt x="1046" y="659"/>
                </a:cubicBezTo>
                <a:cubicBezTo>
                  <a:pt x="1006" y="639"/>
                  <a:pt x="1006" y="639"/>
                  <a:pt x="1006" y="639"/>
                </a:cubicBezTo>
                <a:cubicBezTo>
                  <a:pt x="1006" y="106"/>
                  <a:pt x="1006" y="106"/>
                  <a:pt x="1006" y="106"/>
                </a:cubicBezTo>
                <a:lnTo>
                  <a:pt x="295" y="462"/>
                </a:lnTo>
                <a:close/>
                <a:moveTo>
                  <a:pt x="1886" y="1056"/>
                </a:moveTo>
                <a:cubicBezTo>
                  <a:pt x="1886" y="1362"/>
                  <a:pt x="1886" y="1362"/>
                  <a:pt x="1886" y="1362"/>
                </a:cubicBezTo>
                <a:cubicBezTo>
                  <a:pt x="1886" y="1379"/>
                  <a:pt x="1875" y="1394"/>
                  <a:pt x="1860" y="1399"/>
                </a:cubicBezTo>
                <a:cubicBezTo>
                  <a:pt x="1086" y="1786"/>
                  <a:pt x="1086" y="1786"/>
                  <a:pt x="1086" y="1786"/>
                </a:cubicBezTo>
                <a:cubicBezTo>
                  <a:pt x="1086" y="1200"/>
                  <a:pt x="1086" y="1200"/>
                  <a:pt x="1086" y="1200"/>
                </a:cubicBezTo>
                <a:cubicBezTo>
                  <a:pt x="1141" y="1300"/>
                  <a:pt x="1141" y="1300"/>
                  <a:pt x="1141" y="1300"/>
                </a:cubicBezTo>
                <a:cubicBezTo>
                  <a:pt x="1170" y="1353"/>
                  <a:pt x="1246" y="1376"/>
                  <a:pt x="1300" y="1349"/>
                </a:cubicBezTo>
                <a:lnTo>
                  <a:pt x="1886" y="105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" name="Rechteck 79"/>
          <p:cNvSpPr/>
          <p:nvPr/>
        </p:nvSpPr>
        <p:spPr bwMode="gray">
          <a:xfrm>
            <a:off x="323580" y="4949628"/>
            <a:ext cx="7059675" cy="144044"/>
          </a:xfrm>
          <a:prstGeom prst="rect">
            <a:avLst/>
          </a:prstGeom>
          <a:noFill/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 smtClean="0">
                <a:solidFill>
                  <a:schemeClr val="bg2"/>
                </a:solidFill>
                <a:latin typeface="+mj-lt"/>
              </a:rPr>
              <a:t>© </a:t>
            </a:r>
            <a:r>
              <a:rPr lang="en-GB" sz="800" dirty="0" err="1" smtClean="0">
                <a:solidFill>
                  <a:schemeClr val="bg2"/>
                </a:solidFill>
                <a:latin typeface="+mj-lt"/>
              </a:rPr>
              <a:t>GfK</a:t>
            </a:r>
            <a:r>
              <a:rPr lang="en-GB" sz="800" dirty="0" smtClean="0">
                <a:solidFill>
                  <a:schemeClr val="bg2"/>
                </a:solidFill>
                <a:latin typeface="+mj-lt"/>
              </a:rPr>
              <a:t> 2015 </a:t>
            </a:r>
          </a:p>
        </p:txBody>
      </p:sp>
    </p:spTree>
    <p:extLst>
      <p:ext uri="{BB962C8B-B14F-4D97-AF65-F5344CB8AC3E}">
        <p14:creationId xmlns:p14="http://schemas.microsoft.com/office/powerpoint/2010/main" val="2869383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0" y="3508649"/>
            <a:ext cx="9148763" cy="16364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#1: However </a:t>
            </a:r>
            <a:r>
              <a:rPr lang="en-US" b="1" dirty="0" smtClean="0">
                <a:solidFill>
                  <a:schemeClr val="tx2"/>
                </a:solidFill>
              </a:rPr>
              <a:t>Grocery </a:t>
            </a:r>
            <a:r>
              <a:rPr lang="en-US" b="1" dirty="0" smtClean="0"/>
              <a:t>ranks third in visits per user</a:t>
            </a:r>
            <a:endParaRPr lang="en-US" dirty="0"/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323847" y="853741"/>
            <a:ext cx="8503920" cy="2743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6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102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108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162" indent="-180054" algn="l" defTabSz="914675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162" marR="0" indent="-181028" algn="l" defTabSz="91467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sz="12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Freeform 23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265419" y="3993531"/>
            <a:ext cx="716776" cy="666675"/>
          </a:xfrm>
          <a:custGeom>
            <a:avLst/>
            <a:gdLst>
              <a:gd name="T0" fmla="*/ 1560 w 1920"/>
              <a:gd name="T1" fmla="*/ 1786 h 1786"/>
              <a:gd name="T2" fmla="*/ 242 w 1920"/>
              <a:gd name="T3" fmla="*/ 1677 h 1786"/>
              <a:gd name="T4" fmla="*/ 0 w 1920"/>
              <a:gd name="T5" fmla="*/ 666 h 1786"/>
              <a:gd name="T6" fmla="*/ 1920 w 1920"/>
              <a:gd name="T7" fmla="*/ 872 h 1786"/>
              <a:gd name="T8" fmla="*/ 1800 w 1920"/>
              <a:gd name="T9" fmla="*/ 854 h 1786"/>
              <a:gd name="T10" fmla="*/ 1660 w 1920"/>
              <a:gd name="T11" fmla="*/ 826 h 1786"/>
              <a:gd name="T12" fmla="*/ 1742 w 1920"/>
              <a:gd name="T13" fmla="*/ 1046 h 1786"/>
              <a:gd name="T14" fmla="*/ 120 w 1920"/>
              <a:gd name="T15" fmla="*/ 826 h 1786"/>
              <a:gd name="T16" fmla="*/ 178 w 1920"/>
              <a:gd name="T17" fmla="*/ 1046 h 1786"/>
              <a:gd name="T18" fmla="*/ 260 w 1920"/>
              <a:gd name="T19" fmla="*/ 826 h 1786"/>
              <a:gd name="T20" fmla="*/ 214 w 1920"/>
              <a:gd name="T21" fmla="*/ 1166 h 1786"/>
              <a:gd name="T22" fmla="*/ 260 w 1920"/>
              <a:gd name="T23" fmla="*/ 1166 h 1786"/>
              <a:gd name="T24" fmla="*/ 380 w 1920"/>
              <a:gd name="T25" fmla="*/ 1666 h 1786"/>
              <a:gd name="T26" fmla="*/ 580 w 1920"/>
              <a:gd name="T27" fmla="*/ 1486 h 1786"/>
              <a:gd name="T28" fmla="*/ 380 w 1920"/>
              <a:gd name="T29" fmla="*/ 1666 h 1786"/>
              <a:gd name="T30" fmla="*/ 900 w 1920"/>
              <a:gd name="T31" fmla="*/ 1666 h 1786"/>
              <a:gd name="T32" fmla="*/ 700 w 1920"/>
              <a:gd name="T33" fmla="*/ 1486 h 1786"/>
              <a:gd name="T34" fmla="*/ 1020 w 1920"/>
              <a:gd name="T35" fmla="*/ 1666 h 1786"/>
              <a:gd name="T36" fmla="*/ 1220 w 1920"/>
              <a:gd name="T37" fmla="*/ 1486 h 1786"/>
              <a:gd name="T38" fmla="*/ 1020 w 1920"/>
              <a:gd name="T39" fmla="*/ 1666 h 1786"/>
              <a:gd name="T40" fmla="*/ 1540 w 1920"/>
              <a:gd name="T41" fmla="*/ 1666 h 1786"/>
              <a:gd name="T42" fmla="*/ 1340 w 1920"/>
              <a:gd name="T43" fmla="*/ 1486 h 1786"/>
              <a:gd name="T44" fmla="*/ 1660 w 1920"/>
              <a:gd name="T45" fmla="*/ 1322 h 1786"/>
              <a:gd name="T46" fmla="*/ 1660 w 1920"/>
              <a:gd name="T47" fmla="*/ 1166 h 1786"/>
              <a:gd name="T48" fmla="*/ 1540 w 1920"/>
              <a:gd name="T49" fmla="*/ 1366 h 1786"/>
              <a:gd name="T50" fmla="*/ 1340 w 1920"/>
              <a:gd name="T51" fmla="*/ 1166 h 1786"/>
              <a:gd name="T52" fmla="*/ 1540 w 1920"/>
              <a:gd name="T53" fmla="*/ 1366 h 1786"/>
              <a:gd name="T54" fmla="*/ 1220 w 1920"/>
              <a:gd name="T55" fmla="*/ 1166 h 1786"/>
              <a:gd name="T56" fmla="*/ 1020 w 1920"/>
              <a:gd name="T57" fmla="*/ 1366 h 1786"/>
              <a:gd name="T58" fmla="*/ 900 w 1920"/>
              <a:gd name="T59" fmla="*/ 1366 h 1786"/>
              <a:gd name="T60" fmla="*/ 700 w 1920"/>
              <a:gd name="T61" fmla="*/ 1166 h 1786"/>
              <a:gd name="T62" fmla="*/ 900 w 1920"/>
              <a:gd name="T63" fmla="*/ 1366 h 1786"/>
              <a:gd name="T64" fmla="*/ 580 w 1920"/>
              <a:gd name="T65" fmla="*/ 1166 h 1786"/>
              <a:gd name="T66" fmla="*/ 380 w 1920"/>
              <a:gd name="T67" fmla="*/ 1366 h 1786"/>
              <a:gd name="T68" fmla="*/ 380 w 1920"/>
              <a:gd name="T69" fmla="*/ 1046 h 1786"/>
              <a:gd name="T70" fmla="*/ 580 w 1920"/>
              <a:gd name="T71" fmla="*/ 826 h 1786"/>
              <a:gd name="T72" fmla="*/ 380 w 1920"/>
              <a:gd name="T73" fmla="*/ 1046 h 1786"/>
              <a:gd name="T74" fmla="*/ 598 w 1920"/>
              <a:gd name="T75" fmla="*/ 24 h 1786"/>
              <a:gd name="T76" fmla="*/ 682 w 1920"/>
              <a:gd name="T77" fmla="*/ 108 h 1786"/>
              <a:gd name="T78" fmla="*/ 35 w 1920"/>
              <a:gd name="T79" fmla="*/ 586 h 1786"/>
              <a:gd name="T80" fmla="*/ 1238 w 1920"/>
              <a:gd name="T81" fmla="*/ 108 h 1786"/>
              <a:gd name="T82" fmla="*/ 1322 w 1920"/>
              <a:gd name="T83" fmla="*/ 24 h 1786"/>
              <a:gd name="T84" fmla="*/ 1715 w 1920"/>
              <a:gd name="T85" fmla="*/ 586 h 1786"/>
              <a:gd name="T86" fmla="*/ 900 w 1920"/>
              <a:gd name="T87" fmla="*/ 1046 h 1786"/>
              <a:gd name="T88" fmla="*/ 700 w 1920"/>
              <a:gd name="T89" fmla="*/ 826 h 1786"/>
              <a:gd name="T90" fmla="*/ 1020 w 1920"/>
              <a:gd name="T91" fmla="*/ 1046 h 1786"/>
              <a:gd name="T92" fmla="*/ 1220 w 1920"/>
              <a:gd name="T93" fmla="*/ 826 h 1786"/>
              <a:gd name="T94" fmla="*/ 1020 w 1920"/>
              <a:gd name="T95" fmla="*/ 1046 h 1786"/>
              <a:gd name="T96" fmla="*/ 1540 w 1920"/>
              <a:gd name="T97" fmla="*/ 1046 h 1786"/>
              <a:gd name="T98" fmla="*/ 1340 w 1920"/>
              <a:gd name="T99" fmla="*/ 826 h 17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920" h="1786">
                <a:moveTo>
                  <a:pt x="1678" y="1677"/>
                </a:moveTo>
                <a:cubicBezTo>
                  <a:pt x="1661" y="1734"/>
                  <a:pt x="1625" y="1786"/>
                  <a:pt x="1560" y="1786"/>
                </a:cubicBezTo>
                <a:cubicBezTo>
                  <a:pt x="360" y="1786"/>
                  <a:pt x="360" y="1786"/>
                  <a:pt x="360" y="1786"/>
                </a:cubicBezTo>
                <a:cubicBezTo>
                  <a:pt x="295" y="1786"/>
                  <a:pt x="259" y="1734"/>
                  <a:pt x="242" y="1677"/>
                </a:cubicBezTo>
                <a:cubicBezTo>
                  <a:pt x="0" y="872"/>
                  <a:pt x="0" y="872"/>
                  <a:pt x="0" y="872"/>
                </a:cubicBezTo>
                <a:cubicBezTo>
                  <a:pt x="0" y="666"/>
                  <a:pt x="0" y="666"/>
                  <a:pt x="0" y="666"/>
                </a:cubicBezTo>
                <a:cubicBezTo>
                  <a:pt x="1920" y="666"/>
                  <a:pt x="1920" y="666"/>
                  <a:pt x="1920" y="666"/>
                </a:cubicBezTo>
                <a:cubicBezTo>
                  <a:pt x="1920" y="872"/>
                  <a:pt x="1920" y="872"/>
                  <a:pt x="1920" y="872"/>
                </a:cubicBezTo>
                <a:lnTo>
                  <a:pt x="1678" y="1677"/>
                </a:lnTo>
                <a:close/>
                <a:moveTo>
                  <a:pt x="1800" y="854"/>
                </a:moveTo>
                <a:cubicBezTo>
                  <a:pt x="1800" y="826"/>
                  <a:pt x="1800" y="826"/>
                  <a:pt x="1800" y="826"/>
                </a:cubicBezTo>
                <a:cubicBezTo>
                  <a:pt x="1660" y="826"/>
                  <a:pt x="1660" y="826"/>
                  <a:pt x="1660" y="826"/>
                </a:cubicBezTo>
                <a:cubicBezTo>
                  <a:pt x="1660" y="1046"/>
                  <a:pt x="1660" y="1046"/>
                  <a:pt x="1660" y="1046"/>
                </a:cubicBezTo>
                <a:cubicBezTo>
                  <a:pt x="1742" y="1046"/>
                  <a:pt x="1742" y="1046"/>
                  <a:pt x="1742" y="1046"/>
                </a:cubicBezTo>
                <a:lnTo>
                  <a:pt x="1800" y="854"/>
                </a:lnTo>
                <a:close/>
                <a:moveTo>
                  <a:pt x="120" y="826"/>
                </a:moveTo>
                <a:cubicBezTo>
                  <a:pt x="120" y="854"/>
                  <a:pt x="120" y="854"/>
                  <a:pt x="120" y="854"/>
                </a:cubicBezTo>
                <a:cubicBezTo>
                  <a:pt x="178" y="1046"/>
                  <a:pt x="178" y="1046"/>
                  <a:pt x="178" y="1046"/>
                </a:cubicBezTo>
                <a:cubicBezTo>
                  <a:pt x="260" y="1046"/>
                  <a:pt x="260" y="1046"/>
                  <a:pt x="260" y="1046"/>
                </a:cubicBezTo>
                <a:cubicBezTo>
                  <a:pt x="260" y="826"/>
                  <a:pt x="260" y="826"/>
                  <a:pt x="260" y="826"/>
                </a:cubicBezTo>
                <a:lnTo>
                  <a:pt x="120" y="826"/>
                </a:lnTo>
                <a:close/>
                <a:moveTo>
                  <a:pt x="214" y="1166"/>
                </a:moveTo>
                <a:cubicBezTo>
                  <a:pt x="260" y="1322"/>
                  <a:pt x="260" y="1322"/>
                  <a:pt x="260" y="1322"/>
                </a:cubicBezTo>
                <a:cubicBezTo>
                  <a:pt x="260" y="1166"/>
                  <a:pt x="260" y="1166"/>
                  <a:pt x="260" y="1166"/>
                </a:cubicBezTo>
                <a:lnTo>
                  <a:pt x="214" y="1166"/>
                </a:lnTo>
                <a:close/>
                <a:moveTo>
                  <a:pt x="380" y="1666"/>
                </a:moveTo>
                <a:cubicBezTo>
                  <a:pt x="580" y="1666"/>
                  <a:pt x="580" y="1666"/>
                  <a:pt x="580" y="1666"/>
                </a:cubicBezTo>
                <a:cubicBezTo>
                  <a:pt x="580" y="1486"/>
                  <a:pt x="580" y="1486"/>
                  <a:pt x="580" y="1486"/>
                </a:cubicBezTo>
                <a:cubicBezTo>
                  <a:pt x="380" y="1486"/>
                  <a:pt x="380" y="1486"/>
                  <a:pt x="380" y="1486"/>
                </a:cubicBezTo>
                <a:lnTo>
                  <a:pt x="380" y="1666"/>
                </a:lnTo>
                <a:close/>
                <a:moveTo>
                  <a:pt x="700" y="1666"/>
                </a:moveTo>
                <a:cubicBezTo>
                  <a:pt x="900" y="1666"/>
                  <a:pt x="900" y="1666"/>
                  <a:pt x="900" y="1666"/>
                </a:cubicBezTo>
                <a:cubicBezTo>
                  <a:pt x="900" y="1486"/>
                  <a:pt x="900" y="1486"/>
                  <a:pt x="900" y="1486"/>
                </a:cubicBezTo>
                <a:cubicBezTo>
                  <a:pt x="700" y="1486"/>
                  <a:pt x="700" y="1486"/>
                  <a:pt x="700" y="1486"/>
                </a:cubicBezTo>
                <a:lnTo>
                  <a:pt x="700" y="1666"/>
                </a:lnTo>
                <a:close/>
                <a:moveTo>
                  <a:pt x="1020" y="1666"/>
                </a:moveTo>
                <a:cubicBezTo>
                  <a:pt x="1220" y="1666"/>
                  <a:pt x="1220" y="1666"/>
                  <a:pt x="1220" y="1666"/>
                </a:cubicBezTo>
                <a:cubicBezTo>
                  <a:pt x="1220" y="1486"/>
                  <a:pt x="1220" y="1486"/>
                  <a:pt x="1220" y="1486"/>
                </a:cubicBezTo>
                <a:cubicBezTo>
                  <a:pt x="1020" y="1486"/>
                  <a:pt x="1020" y="1486"/>
                  <a:pt x="1020" y="1486"/>
                </a:cubicBezTo>
                <a:lnTo>
                  <a:pt x="1020" y="1666"/>
                </a:lnTo>
                <a:close/>
                <a:moveTo>
                  <a:pt x="1340" y="1666"/>
                </a:moveTo>
                <a:cubicBezTo>
                  <a:pt x="1540" y="1666"/>
                  <a:pt x="1540" y="1666"/>
                  <a:pt x="1540" y="1666"/>
                </a:cubicBezTo>
                <a:cubicBezTo>
                  <a:pt x="1540" y="1486"/>
                  <a:pt x="1540" y="1486"/>
                  <a:pt x="1540" y="1486"/>
                </a:cubicBezTo>
                <a:cubicBezTo>
                  <a:pt x="1340" y="1486"/>
                  <a:pt x="1340" y="1486"/>
                  <a:pt x="1340" y="1486"/>
                </a:cubicBezTo>
                <a:lnTo>
                  <a:pt x="1340" y="1666"/>
                </a:lnTo>
                <a:close/>
                <a:moveTo>
                  <a:pt x="1660" y="1322"/>
                </a:moveTo>
                <a:cubicBezTo>
                  <a:pt x="1706" y="1166"/>
                  <a:pt x="1706" y="1166"/>
                  <a:pt x="1706" y="1166"/>
                </a:cubicBezTo>
                <a:cubicBezTo>
                  <a:pt x="1660" y="1166"/>
                  <a:pt x="1660" y="1166"/>
                  <a:pt x="1660" y="1166"/>
                </a:cubicBezTo>
                <a:lnTo>
                  <a:pt x="1660" y="1322"/>
                </a:lnTo>
                <a:close/>
                <a:moveTo>
                  <a:pt x="1540" y="1366"/>
                </a:moveTo>
                <a:cubicBezTo>
                  <a:pt x="1540" y="1166"/>
                  <a:pt x="1540" y="1166"/>
                  <a:pt x="1540" y="1166"/>
                </a:cubicBezTo>
                <a:cubicBezTo>
                  <a:pt x="1340" y="1166"/>
                  <a:pt x="1340" y="1166"/>
                  <a:pt x="1340" y="1166"/>
                </a:cubicBezTo>
                <a:cubicBezTo>
                  <a:pt x="1340" y="1366"/>
                  <a:pt x="1340" y="1366"/>
                  <a:pt x="1340" y="1366"/>
                </a:cubicBezTo>
                <a:lnTo>
                  <a:pt x="1540" y="1366"/>
                </a:lnTo>
                <a:close/>
                <a:moveTo>
                  <a:pt x="1220" y="1366"/>
                </a:moveTo>
                <a:cubicBezTo>
                  <a:pt x="1220" y="1166"/>
                  <a:pt x="1220" y="1166"/>
                  <a:pt x="1220" y="1166"/>
                </a:cubicBezTo>
                <a:cubicBezTo>
                  <a:pt x="1020" y="1166"/>
                  <a:pt x="1020" y="1166"/>
                  <a:pt x="1020" y="1166"/>
                </a:cubicBezTo>
                <a:cubicBezTo>
                  <a:pt x="1020" y="1366"/>
                  <a:pt x="1020" y="1366"/>
                  <a:pt x="1020" y="1366"/>
                </a:cubicBezTo>
                <a:lnTo>
                  <a:pt x="1220" y="1366"/>
                </a:lnTo>
                <a:close/>
                <a:moveTo>
                  <a:pt x="900" y="1366"/>
                </a:moveTo>
                <a:cubicBezTo>
                  <a:pt x="900" y="1166"/>
                  <a:pt x="900" y="1166"/>
                  <a:pt x="900" y="1166"/>
                </a:cubicBezTo>
                <a:cubicBezTo>
                  <a:pt x="700" y="1166"/>
                  <a:pt x="700" y="1166"/>
                  <a:pt x="700" y="1166"/>
                </a:cubicBezTo>
                <a:cubicBezTo>
                  <a:pt x="700" y="1366"/>
                  <a:pt x="700" y="1366"/>
                  <a:pt x="700" y="1366"/>
                </a:cubicBezTo>
                <a:lnTo>
                  <a:pt x="900" y="1366"/>
                </a:lnTo>
                <a:close/>
                <a:moveTo>
                  <a:pt x="580" y="1366"/>
                </a:moveTo>
                <a:cubicBezTo>
                  <a:pt x="580" y="1166"/>
                  <a:pt x="580" y="1166"/>
                  <a:pt x="580" y="1166"/>
                </a:cubicBezTo>
                <a:cubicBezTo>
                  <a:pt x="380" y="1166"/>
                  <a:pt x="380" y="1166"/>
                  <a:pt x="380" y="1166"/>
                </a:cubicBezTo>
                <a:cubicBezTo>
                  <a:pt x="380" y="1366"/>
                  <a:pt x="380" y="1366"/>
                  <a:pt x="380" y="1366"/>
                </a:cubicBezTo>
                <a:lnTo>
                  <a:pt x="580" y="1366"/>
                </a:lnTo>
                <a:close/>
                <a:moveTo>
                  <a:pt x="380" y="1046"/>
                </a:moveTo>
                <a:cubicBezTo>
                  <a:pt x="580" y="1046"/>
                  <a:pt x="580" y="1046"/>
                  <a:pt x="580" y="1046"/>
                </a:cubicBezTo>
                <a:cubicBezTo>
                  <a:pt x="580" y="826"/>
                  <a:pt x="580" y="826"/>
                  <a:pt x="580" y="826"/>
                </a:cubicBezTo>
                <a:cubicBezTo>
                  <a:pt x="380" y="826"/>
                  <a:pt x="380" y="826"/>
                  <a:pt x="380" y="826"/>
                </a:cubicBezTo>
                <a:lnTo>
                  <a:pt x="380" y="1046"/>
                </a:lnTo>
                <a:close/>
                <a:moveTo>
                  <a:pt x="35" y="586"/>
                </a:moveTo>
                <a:cubicBezTo>
                  <a:pt x="598" y="24"/>
                  <a:pt x="598" y="24"/>
                  <a:pt x="598" y="24"/>
                </a:cubicBezTo>
                <a:cubicBezTo>
                  <a:pt x="621" y="0"/>
                  <a:pt x="659" y="0"/>
                  <a:pt x="682" y="24"/>
                </a:cubicBezTo>
                <a:cubicBezTo>
                  <a:pt x="706" y="47"/>
                  <a:pt x="706" y="85"/>
                  <a:pt x="682" y="108"/>
                </a:cubicBezTo>
                <a:cubicBezTo>
                  <a:pt x="205" y="586"/>
                  <a:pt x="205" y="586"/>
                  <a:pt x="205" y="586"/>
                </a:cubicBezTo>
                <a:lnTo>
                  <a:pt x="35" y="586"/>
                </a:lnTo>
                <a:close/>
                <a:moveTo>
                  <a:pt x="1715" y="586"/>
                </a:moveTo>
                <a:cubicBezTo>
                  <a:pt x="1238" y="108"/>
                  <a:pt x="1238" y="108"/>
                  <a:pt x="1238" y="108"/>
                </a:cubicBezTo>
                <a:cubicBezTo>
                  <a:pt x="1214" y="85"/>
                  <a:pt x="1214" y="47"/>
                  <a:pt x="1238" y="24"/>
                </a:cubicBezTo>
                <a:cubicBezTo>
                  <a:pt x="1261" y="0"/>
                  <a:pt x="1299" y="0"/>
                  <a:pt x="1322" y="24"/>
                </a:cubicBezTo>
                <a:cubicBezTo>
                  <a:pt x="1885" y="586"/>
                  <a:pt x="1885" y="586"/>
                  <a:pt x="1885" y="586"/>
                </a:cubicBezTo>
                <a:lnTo>
                  <a:pt x="1715" y="586"/>
                </a:lnTo>
                <a:close/>
                <a:moveTo>
                  <a:pt x="700" y="1046"/>
                </a:moveTo>
                <a:cubicBezTo>
                  <a:pt x="900" y="1046"/>
                  <a:pt x="900" y="1046"/>
                  <a:pt x="900" y="1046"/>
                </a:cubicBezTo>
                <a:cubicBezTo>
                  <a:pt x="900" y="826"/>
                  <a:pt x="900" y="826"/>
                  <a:pt x="900" y="826"/>
                </a:cubicBezTo>
                <a:cubicBezTo>
                  <a:pt x="700" y="826"/>
                  <a:pt x="700" y="826"/>
                  <a:pt x="700" y="826"/>
                </a:cubicBezTo>
                <a:lnTo>
                  <a:pt x="700" y="1046"/>
                </a:lnTo>
                <a:close/>
                <a:moveTo>
                  <a:pt x="1020" y="1046"/>
                </a:moveTo>
                <a:cubicBezTo>
                  <a:pt x="1220" y="1046"/>
                  <a:pt x="1220" y="1046"/>
                  <a:pt x="1220" y="1046"/>
                </a:cubicBezTo>
                <a:cubicBezTo>
                  <a:pt x="1220" y="826"/>
                  <a:pt x="1220" y="826"/>
                  <a:pt x="1220" y="826"/>
                </a:cubicBezTo>
                <a:cubicBezTo>
                  <a:pt x="1020" y="826"/>
                  <a:pt x="1020" y="826"/>
                  <a:pt x="1020" y="826"/>
                </a:cubicBezTo>
                <a:lnTo>
                  <a:pt x="1020" y="1046"/>
                </a:lnTo>
                <a:close/>
                <a:moveTo>
                  <a:pt x="1340" y="1046"/>
                </a:moveTo>
                <a:cubicBezTo>
                  <a:pt x="1540" y="1046"/>
                  <a:pt x="1540" y="1046"/>
                  <a:pt x="1540" y="1046"/>
                </a:cubicBezTo>
                <a:cubicBezTo>
                  <a:pt x="1540" y="826"/>
                  <a:pt x="1540" y="826"/>
                  <a:pt x="1540" y="826"/>
                </a:cubicBezTo>
                <a:cubicBezTo>
                  <a:pt x="1340" y="826"/>
                  <a:pt x="1340" y="826"/>
                  <a:pt x="1340" y="826"/>
                </a:cubicBezTo>
                <a:lnTo>
                  <a:pt x="1340" y="104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2" name="Freeform 101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5638349" y="3993531"/>
            <a:ext cx="741134" cy="654536"/>
          </a:xfrm>
          <a:custGeom>
            <a:avLst/>
            <a:gdLst>
              <a:gd name="T0" fmla="*/ 1220 w 2174"/>
              <a:gd name="T1" fmla="*/ 1480 h 1920"/>
              <a:gd name="T2" fmla="*/ 1437 w 2174"/>
              <a:gd name="T3" fmla="*/ 1700 h 1920"/>
              <a:gd name="T4" fmla="*/ 1220 w 2174"/>
              <a:gd name="T5" fmla="*/ 1920 h 1920"/>
              <a:gd name="T6" fmla="*/ 774 w 2174"/>
              <a:gd name="T7" fmla="*/ 1920 h 1920"/>
              <a:gd name="T8" fmla="*/ 557 w 2174"/>
              <a:gd name="T9" fmla="*/ 1700 h 1920"/>
              <a:gd name="T10" fmla="*/ 774 w 2174"/>
              <a:gd name="T11" fmla="*/ 1480 h 1920"/>
              <a:gd name="T12" fmla="*/ 1220 w 2174"/>
              <a:gd name="T13" fmla="*/ 1480 h 1920"/>
              <a:gd name="T14" fmla="*/ 196 w 2174"/>
              <a:gd name="T15" fmla="*/ 1262 h 1920"/>
              <a:gd name="T16" fmla="*/ 636 w 2174"/>
              <a:gd name="T17" fmla="*/ 1185 h 1920"/>
              <a:gd name="T18" fmla="*/ 887 w 2174"/>
              <a:gd name="T19" fmla="*/ 1364 h 1920"/>
              <a:gd name="T20" fmla="*/ 891 w 2174"/>
              <a:gd name="T21" fmla="*/ 1400 h 1920"/>
              <a:gd name="T22" fmla="*/ 774 w 2174"/>
              <a:gd name="T23" fmla="*/ 1400 h 1920"/>
              <a:gd name="T24" fmla="*/ 480 w 2174"/>
              <a:gd name="T25" fmla="*/ 1659 h 1920"/>
              <a:gd name="T26" fmla="*/ 272 w 2174"/>
              <a:gd name="T27" fmla="*/ 1696 h 1920"/>
              <a:gd name="T28" fmla="*/ 21 w 2174"/>
              <a:gd name="T29" fmla="*/ 1516 h 1920"/>
              <a:gd name="T30" fmla="*/ 196 w 2174"/>
              <a:gd name="T31" fmla="*/ 1262 h 1920"/>
              <a:gd name="T32" fmla="*/ 1974 w 2174"/>
              <a:gd name="T33" fmla="*/ 320 h 1920"/>
              <a:gd name="T34" fmla="*/ 2174 w 2174"/>
              <a:gd name="T35" fmla="*/ 520 h 1920"/>
              <a:gd name="T36" fmla="*/ 2174 w 2174"/>
              <a:gd name="T37" fmla="*/ 1521 h 1920"/>
              <a:gd name="T38" fmla="*/ 1974 w 2174"/>
              <a:gd name="T39" fmla="*/ 1720 h 1920"/>
              <a:gd name="T40" fmla="*/ 1516 w 2174"/>
              <a:gd name="T41" fmla="*/ 1720 h 1920"/>
              <a:gd name="T42" fmla="*/ 1220 w 2174"/>
              <a:gd name="T43" fmla="*/ 1400 h 1920"/>
              <a:gd name="T44" fmla="*/ 974 w 2174"/>
              <a:gd name="T45" fmla="*/ 1400 h 1920"/>
              <a:gd name="T46" fmla="*/ 974 w 2174"/>
              <a:gd name="T47" fmla="*/ 520 h 1920"/>
              <a:gd name="T48" fmla="*/ 1174 w 2174"/>
              <a:gd name="T49" fmla="*/ 320 h 1920"/>
              <a:gd name="T50" fmla="*/ 1187 w 2174"/>
              <a:gd name="T51" fmla="*/ 318 h 1920"/>
              <a:gd name="T52" fmla="*/ 1960 w 2174"/>
              <a:gd name="T53" fmla="*/ 318 h 1920"/>
              <a:gd name="T54" fmla="*/ 1974 w 2174"/>
              <a:gd name="T55" fmla="*/ 320 h 1920"/>
              <a:gd name="T56" fmla="*/ 1174 w 2174"/>
              <a:gd name="T57" fmla="*/ 680 h 1920"/>
              <a:gd name="T58" fmla="*/ 1174 w 2174"/>
              <a:gd name="T59" fmla="*/ 1280 h 1920"/>
              <a:gd name="T60" fmla="*/ 1934 w 2174"/>
              <a:gd name="T61" fmla="*/ 1280 h 1920"/>
              <a:gd name="T62" fmla="*/ 1974 w 2174"/>
              <a:gd name="T63" fmla="*/ 1280 h 1920"/>
              <a:gd name="T64" fmla="*/ 1974 w 2174"/>
              <a:gd name="T65" fmla="*/ 1240 h 1920"/>
              <a:gd name="T66" fmla="*/ 1974 w 2174"/>
              <a:gd name="T67" fmla="*/ 680 h 1920"/>
              <a:gd name="T68" fmla="*/ 1174 w 2174"/>
              <a:gd name="T69" fmla="*/ 680 h 1920"/>
              <a:gd name="T70" fmla="*/ 1894 w 2174"/>
              <a:gd name="T71" fmla="*/ 760 h 1920"/>
              <a:gd name="T72" fmla="*/ 1894 w 2174"/>
              <a:gd name="T73" fmla="*/ 1200 h 1920"/>
              <a:gd name="T74" fmla="*/ 1254 w 2174"/>
              <a:gd name="T75" fmla="*/ 1200 h 1920"/>
              <a:gd name="T76" fmla="*/ 1254 w 2174"/>
              <a:gd name="T77" fmla="*/ 760 h 1920"/>
              <a:gd name="T78" fmla="*/ 1894 w 2174"/>
              <a:gd name="T79" fmla="*/ 760 h 1920"/>
              <a:gd name="T80" fmla="*/ 1214 w 2174"/>
              <a:gd name="T81" fmla="*/ 0 h 1920"/>
              <a:gd name="T82" fmla="*/ 1934 w 2174"/>
              <a:gd name="T83" fmla="*/ 0 h 1920"/>
              <a:gd name="T84" fmla="*/ 2054 w 2174"/>
              <a:gd name="T85" fmla="*/ 120 h 1920"/>
              <a:gd name="T86" fmla="*/ 2054 w 2174"/>
              <a:gd name="T87" fmla="*/ 160 h 1920"/>
              <a:gd name="T88" fmla="*/ 1934 w 2174"/>
              <a:gd name="T89" fmla="*/ 280 h 1920"/>
              <a:gd name="T90" fmla="*/ 1214 w 2174"/>
              <a:gd name="T91" fmla="*/ 280 h 1920"/>
              <a:gd name="T92" fmla="*/ 1094 w 2174"/>
              <a:gd name="T93" fmla="*/ 160 h 1920"/>
              <a:gd name="T94" fmla="*/ 1094 w 2174"/>
              <a:gd name="T95" fmla="*/ 120 h 1920"/>
              <a:gd name="T96" fmla="*/ 1214 w 2174"/>
              <a:gd name="T97" fmla="*/ 0 h 1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174" h="1920">
                <a:moveTo>
                  <a:pt x="1220" y="1480"/>
                </a:moveTo>
                <a:cubicBezTo>
                  <a:pt x="1341" y="1480"/>
                  <a:pt x="1437" y="1580"/>
                  <a:pt x="1437" y="1700"/>
                </a:cubicBezTo>
                <a:cubicBezTo>
                  <a:pt x="1437" y="1820"/>
                  <a:pt x="1341" y="1920"/>
                  <a:pt x="1220" y="1920"/>
                </a:cubicBezTo>
                <a:cubicBezTo>
                  <a:pt x="774" y="1920"/>
                  <a:pt x="774" y="1920"/>
                  <a:pt x="774" y="1920"/>
                </a:cubicBezTo>
                <a:cubicBezTo>
                  <a:pt x="653" y="1920"/>
                  <a:pt x="557" y="1820"/>
                  <a:pt x="557" y="1700"/>
                </a:cubicBezTo>
                <a:cubicBezTo>
                  <a:pt x="557" y="1580"/>
                  <a:pt x="653" y="1480"/>
                  <a:pt x="774" y="1480"/>
                </a:cubicBezTo>
                <a:lnTo>
                  <a:pt x="1220" y="1480"/>
                </a:lnTo>
                <a:close/>
                <a:moveTo>
                  <a:pt x="196" y="1262"/>
                </a:moveTo>
                <a:cubicBezTo>
                  <a:pt x="636" y="1185"/>
                  <a:pt x="636" y="1185"/>
                  <a:pt x="636" y="1185"/>
                </a:cubicBezTo>
                <a:cubicBezTo>
                  <a:pt x="755" y="1164"/>
                  <a:pt x="866" y="1246"/>
                  <a:pt x="887" y="1364"/>
                </a:cubicBezTo>
                <a:cubicBezTo>
                  <a:pt x="890" y="1376"/>
                  <a:pt x="890" y="1388"/>
                  <a:pt x="891" y="1400"/>
                </a:cubicBezTo>
                <a:cubicBezTo>
                  <a:pt x="774" y="1400"/>
                  <a:pt x="774" y="1400"/>
                  <a:pt x="774" y="1400"/>
                </a:cubicBezTo>
                <a:cubicBezTo>
                  <a:pt x="625" y="1400"/>
                  <a:pt x="500" y="1512"/>
                  <a:pt x="480" y="1659"/>
                </a:cubicBezTo>
                <a:cubicBezTo>
                  <a:pt x="272" y="1696"/>
                  <a:pt x="272" y="1696"/>
                  <a:pt x="272" y="1696"/>
                </a:cubicBezTo>
                <a:cubicBezTo>
                  <a:pt x="153" y="1716"/>
                  <a:pt x="42" y="1634"/>
                  <a:pt x="21" y="1516"/>
                </a:cubicBezTo>
                <a:cubicBezTo>
                  <a:pt x="0" y="1398"/>
                  <a:pt x="77" y="1283"/>
                  <a:pt x="196" y="1262"/>
                </a:cubicBezTo>
                <a:close/>
                <a:moveTo>
                  <a:pt x="1974" y="320"/>
                </a:moveTo>
                <a:cubicBezTo>
                  <a:pt x="2084" y="320"/>
                  <a:pt x="2174" y="410"/>
                  <a:pt x="2174" y="520"/>
                </a:cubicBezTo>
                <a:cubicBezTo>
                  <a:pt x="2174" y="1521"/>
                  <a:pt x="2174" y="1521"/>
                  <a:pt x="2174" y="1521"/>
                </a:cubicBezTo>
                <a:cubicBezTo>
                  <a:pt x="2174" y="1631"/>
                  <a:pt x="2084" y="1720"/>
                  <a:pt x="1974" y="1720"/>
                </a:cubicBezTo>
                <a:cubicBezTo>
                  <a:pt x="1516" y="1720"/>
                  <a:pt x="1516" y="1720"/>
                  <a:pt x="1516" y="1720"/>
                </a:cubicBezTo>
                <a:cubicBezTo>
                  <a:pt x="1528" y="1549"/>
                  <a:pt x="1393" y="1400"/>
                  <a:pt x="1220" y="1400"/>
                </a:cubicBezTo>
                <a:cubicBezTo>
                  <a:pt x="974" y="1400"/>
                  <a:pt x="974" y="1400"/>
                  <a:pt x="974" y="1400"/>
                </a:cubicBezTo>
                <a:cubicBezTo>
                  <a:pt x="974" y="520"/>
                  <a:pt x="974" y="520"/>
                  <a:pt x="974" y="520"/>
                </a:cubicBezTo>
                <a:cubicBezTo>
                  <a:pt x="974" y="410"/>
                  <a:pt x="1064" y="320"/>
                  <a:pt x="1174" y="320"/>
                </a:cubicBezTo>
                <a:cubicBezTo>
                  <a:pt x="1178" y="320"/>
                  <a:pt x="1183" y="319"/>
                  <a:pt x="1187" y="318"/>
                </a:cubicBezTo>
                <a:cubicBezTo>
                  <a:pt x="1960" y="318"/>
                  <a:pt x="1960" y="318"/>
                  <a:pt x="1960" y="318"/>
                </a:cubicBezTo>
                <a:cubicBezTo>
                  <a:pt x="1964" y="319"/>
                  <a:pt x="1969" y="320"/>
                  <a:pt x="1974" y="320"/>
                </a:cubicBezTo>
                <a:close/>
                <a:moveTo>
                  <a:pt x="1174" y="680"/>
                </a:moveTo>
                <a:cubicBezTo>
                  <a:pt x="1174" y="1280"/>
                  <a:pt x="1174" y="1280"/>
                  <a:pt x="1174" y="1280"/>
                </a:cubicBezTo>
                <a:cubicBezTo>
                  <a:pt x="1934" y="1280"/>
                  <a:pt x="1934" y="1280"/>
                  <a:pt x="1934" y="1280"/>
                </a:cubicBezTo>
                <a:cubicBezTo>
                  <a:pt x="1974" y="1280"/>
                  <a:pt x="1974" y="1280"/>
                  <a:pt x="1974" y="1280"/>
                </a:cubicBezTo>
                <a:cubicBezTo>
                  <a:pt x="1974" y="1240"/>
                  <a:pt x="1974" y="1240"/>
                  <a:pt x="1974" y="1240"/>
                </a:cubicBezTo>
                <a:cubicBezTo>
                  <a:pt x="1974" y="680"/>
                  <a:pt x="1974" y="680"/>
                  <a:pt x="1974" y="680"/>
                </a:cubicBezTo>
                <a:lnTo>
                  <a:pt x="1174" y="680"/>
                </a:lnTo>
                <a:close/>
                <a:moveTo>
                  <a:pt x="1894" y="760"/>
                </a:moveTo>
                <a:cubicBezTo>
                  <a:pt x="1894" y="1200"/>
                  <a:pt x="1894" y="1200"/>
                  <a:pt x="1894" y="1200"/>
                </a:cubicBezTo>
                <a:cubicBezTo>
                  <a:pt x="1254" y="1200"/>
                  <a:pt x="1254" y="1200"/>
                  <a:pt x="1254" y="1200"/>
                </a:cubicBezTo>
                <a:cubicBezTo>
                  <a:pt x="1254" y="760"/>
                  <a:pt x="1254" y="760"/>
                  <a:pt x="1254" y="760"/>
                </a:cubicBezTo>
                <a:lnTo>
                  <a:pt x="1894" y="760"/>
                </a:lnTo>
                <a:close/>
                <a:moveTo>
                  <a:pt x="1214" y="0"/>
                </a:moveTo>
                <a:cubicBezTo>
                  <a:pt x="1934" y="0"/>
                  <a:pt x="1934" y="0"/>
                  <a:pt x="1934" y="0"/>
                </a:cubicBezTo>
                <a:cubicBezTo>
                  <a:pt x="2000" y="0"/>
                  <a:pt x="2054" y="54"/>
                  <a:pt x="2054" y="120"/>
                </a:cubicBezTo>
                <a:cubicBezTo>
                  <a:pt x="2054" y="160"/>
                  <a:pt x="2054" y="160"/>
                  <a:pt x="2054" y="160"/>
                </a:cubicBezTo>
                <a:cubicBezTo>
                  <a:pt x="2054" y="226"/>
                  <a:pt x="2000" y="280"/>
                  <a:pt x="1934" y="280"/>
                </a:cubicBezTo>
                <a:cubicBezTo>
                  <a:pt x="1214" y="280"/>
                  <a:pt x="1214" y="280"/>
                  <a:pt x="1214" y="280"/>
                </a:cubicBezTo>
                <a:cubicBezTo>
                  <a:pt x="1148" y="280"/>
                  <a:pt x="1094" y="226"/>
                  <a:pt x="1094" y="160"/>
                </a:cubicBezTo>
                <a:cubicBezTo>
                  <a:pt x="1094" y="120"/>
                  <a:pt x="1094" y="120"/>
                  <a:pt x="1094" y="120"/>
                </a:cubicBezTo>
                <a:cubicBezTo>
                  <a:pt x="1094" y="54"/>
                  <a:pt x="1148" y="0"/>
                  <a:pt x="1214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" name="Freeform 22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4129805" y="3970393"/>
            <a:ext cx="892003" cy="658808"/>
          </a:xfrm>
          <a:custGeom>
            <a:avLst/>
            <a:gdLst>
              <a:gd name="T0" fmla="*/ 4413 w 5424"/>
              <a:gd name="T1" fmla="*/ 2610 h 4006"/>
              <a:gd name="T2" fmla="*/ 4413 w 5424"/>
              <a:gd name="T3" fmla="*/ 3628 h 4006"/>
              <a:gd name="T4" fmla="*/ 4980 w 5424"/>
              <a:gd name="T5" fmla="*/ 3628 h 4006"/>
              <a:gd name="T6" fmla="*/ 4980 w 5424"/>
              <a:gd name="T7" fmla="*/ 2421 h 4006"/>
              <a:gd name="T8" fmla="*/ 4602 w 5424"/>
              <a:gd name="T9" fmla="*/ 2799 h 4006"/>
              <a:gd name="T10" fmla="*/ 4413 w 5424"/>
              <a:gd name="T11" fmla="*/ 2610 h 4006"/>
              <a:gd name="T12" fmla="*/ 3090 w 5424"/>
              <a:gd name="T13" fmla="*/ 4006 h 4006"/>
              <a:gd name="T14" fmla="*/ 3657 w 5424"/>
              <a:gd name="T15" fmla="*/ 4006 h 4006"/>
              <a:gd name="T16" fmla="*/ 3657 w 5424"/>
              <a:gd name="T17" fmla="*/ 2494 h 4006"/>
              <a:gd name="T18" fmla="*/ 3090 w 5424"/>
              <a:gd name="T19" fmla="*/ 2494 h 4006"/>
              <a:gd name="T20" fmla="*/ 3090 w 5424"/>
              <a:gd name="T21" fmla="*/ 4006 h 4006"/>
              <a:gd name="T22" fmla="*/ 1578 w 5424"/>
              <a:gd name="T23" fmla="*/ 2305 h 4006"/>
              <a:gd name="T24" fmla="*/ 1578 w 5424"/>
              <a:gd name="T25" fmla="*/ 3250 h 4006"/>
              <a:gd name="T26" fmla="*/ 2712 w 5424"/>
              <a:gd name="T27" fmla="*/ 3250 h 4006"/>
              <a:gd name="T28" fmla="*/ 2712 w 5424"/>
              <a:gd name="T29" fmla="*/ 2305 h 4006"/>
              <a:gd name="T30" fmla="*/ 1578 w 5424"/>
              <a:gd name="T31" fmla="*/ 2305 h 4006"/>
              <a:gd name="T32" fmla="*/ 2523 w 5424"/>
              <a:gd name="T33" fmla="*/ 2494 h 4006"/>
              <a:gd name="T34" fmla="*/ 2523 w 5424"/>
              <a:gd name="T35" fmla="*/ 3061 h 4006"/>
              <a:gd name="T36" fmla="*/ 1767 w 5424"/>
              <a:gd name="T37" fmla="*/ 3061 h 4006"/>
              <a:gd name="T38" fmla="*/ 1767 w 5424"/>
              <a:gd name="T39" fmla="*/ 2494 h 4006"/>
              <a:gd name="T40" fmla="*/ 2523 w 5424"/>
              <a:gd name="T41" fmla="*/ 2494 h 4006"/>
              <a:gd name="T42" fmla="*/ 756 w 5424"/>
              <a:gd name="T43" fmla="*/ 2334 h 4006"/>
              <a:gd name="T44" fmla="*/ 2712 w 5424"/>
              <a:gd name="T45" fmla="*/ 389 h 4006"/>
              <a:gd name="T46" fmla="*/ 4668 w 5424"/>
              <a:gd name="T47" fmla="*/ 2334 h 4006"/>
              <a:gd name="T48" fmla="*/ 4535 w 5424"/>
              <a:gd name="T49" fmla="*/ 2466 h 4006"/>
              <a:gd name="T50" fmla="*/ 4224 w 5424"/>
              <a:gd name="T51" fmla="*/ 2156 h 4006"/>
              <a:gd name="T52" fmla="*/ 4224 w 5424"/>
              <a:gd name="T53" fmla="*/ 4006 h 4006"/>
              <a:gd name="T54" fmla="*/ 3846 w 5424"/>
              <a:gd name="T55" fmla="*/ 4006 h 4006"/>
              <a:gd name="T56" fmla="*/ 3846 w 5424"/>
              <a:gd name="T57" fmla="*/ 2305 h 4006"/>
              <a:gd name="T58" fmla="*/ 2901 w 5424"/>
              <a:gd name="T59" fmla="*/ 2305 h 4006"/>
              <a:gd name="T60" fmla="*/ 2901 w 5424"/>
              <a:gd name="T61" fmla="*/ 4006 h 4006"/>
              <a:gd name="T62" fmla="*/ 1200 w 5424"/>
              <a:gd name="T63" fmla="*/ 4006 h 4006"/>
              <a:gd name="T64" fmla="*/ 1200 w 5424"/>
              <a:gd name="T65" fmla="*/ 2156 h 4006"/>
              <a:gd name="T66" fmla="*/ 889 w 5424"/>
              <a:gd name="T67" fmla="*/ 2466 h 4006"/>
              <a:gd name="T68" fmla="*/ 756 w 5424"/>
              <a:gd name="T69" fmla="*/ 2334 h 4006"/>
              <a:gd name="T70" fmla="*/ 4980 w 5424"/>
              <a:gd name="T71" fmla="*/ 2376 h 4006"/>
              <a:gd name="T72" fmla="*/ 4980 w 5424"/>
              <a:gd name="T73" fmla="*/ 1871 h 4006"/>
              <a:gd name="T74" fmla="*/ 5291 w 5424"/>
              <a:gd name="T75" fmla="*/ 2182 h 4006"/>
              <a:gd name="T76" fmla="*/ 5424 w 5424"/>
              <a:gd name="T77" fmla="*/ 2050 h 4006"/>
              <a:gd name="T78" fmla="*/ 3562 w 5424"/>
              <a:gd name="T79" fmla="*/ 189 h 4006"/>
              <a:gd name="T80" fmla="*/ 3170 w 5424"/>
              <a:gd name="T81" fmla="*/ 578 h 4006"/>
              <a:gd name="T82" fmla="*/ 4980 w 5424"/>
              <a:gd name="T83" fmla="*/ 2376 h 4006"/>
              <a:gd name="T84" fmla="*/ 1011 w 5424"/>
              <a:gd name="T85" fmla="*/ 3250 h 4006"/>
              <a:gd name="T86" fmla="*/ 445 w 5424"/>
              <a:gd name="T87" fmla="*/ 3250 h 4006"/>
              <a:gd name="T88" fmla="*/ 445 w 5424"/>
              <a:gd name="T89" fmla="*/ 2421 h 4006"/>
              <a:gd name="T90" fmla="*/ 822 w 5424"/>
              <a:gd name="T91" fmla="*/ 2799 h 4006"/>
              <a:gd name="T92" fmla="*/ 1011 w 5424"/>
              <a:gd name="T93" fmla="*/ 2610 h 4006"/>
              <a:gd name="T94" fmla="*/ 1011 w 5424"/>
              <a:gd name="T95" fmla="*/ 3250 h 4006"/>
              <a:gd name="T96" fmla="*/ 445 w 5424"/>
              <a:gd name="T97" fmla="*/ 2376 h 4006"/>
              <a:gd name="T98" fmla="*/ 445 w 5424"/>
              <a:gd name="T99" fmla="*/ 1587 h 4006"/>
              <a:gd name="T100" fmla="*/ 133 w 5424"/>
              <a:gd name="T101" fmla="*/ 1899 h 4006"/>
              <a:gd name="T102" fmla="*/ 0 w 5424"/>
              <a:gd name="T103" fmla="*/ 1767 h 4006"/>
              <a:gd name="T104" fmla="*/ 1767 w 5424"/>
              <a:gd name="T105" fmla="*/ 0 h 4006"/>
              <a:gd name="T106" fmla="*/ 2301 w 5424"/>
              <a:gd name="T107" fmla="*/ 531 h 4006"/>
              <a:gd name="T108" fmla="*/ 445 w 5424"/>
              <a:gd name="T109" fmla="*/ 2376 h 40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424" h="4006">
                <a:moveTo>
                  <a:pt x="4413" y="2610"/>
                </a:moveTo>
                <a:lnTo>
                  <a:pt x="4413" y="3628"/>
                </a:lnTo>
                <a:lnTo>
                  <a:pt x="4980" y="3628"/>
                </a:lnTo>
                <a:lnTo>
                  <a:pt x="4980" y="2421"/>
                </a:lnTo>
                <a:lnTo>
                  <a:pt x="4602" y="2799"/>
                </a:lnTo>
                <a:lnTo>
                  <a:pt x="4413" y="2610"/>
                </a:lnTo>
                <a:close/>
                <a:moveTo>
                  <a:pt x="3090" y="4006"/>
                </a:moveTo>
                <a:lnTo>
                  <a:pt x="3657" y="4006"/>
                </a:lnTo>
                <a:lnTo>
                  <a:pt x="3657" y="2494"/>
                </a:lnTo>
                <a:lnTo>
                  <a:pt x="3090" y="2494"/>
                </a:lnTo>
                <a:lnTo>
                  <a:pt x="3090" y="4006"/>
                </a:lnTo>
                <a:close/>
                <a:moveTo>
                  <a:pt x="1578" y="2305"/>
                </a:moveTo>
                <a:lnTo>
                  <a:pt x="1578" y="3250"/>
                </a:lnTo>
                <a:lnTo>
                  <a:pt x="2712" y="3250"/>
                </a:lnTo>
                <a:lnTo>
                  <a:pt x="2712" y="2305"/>
                </a:lnTo>
                <a:lnTo>
                  <a:pt x="1578" y="2305"/>
                </a:lnTo>
                <a:close/>
                <a:moveTo>
                  <a:pt x="2523" y="2494"/>
                </a:moveTo>
                <a:lnTo>
                  <a:pt x="2523" y="3061"/>
                </a:lnTo>
                <a:lnTo>
                  <a:pt x="1767" y="3061"/>
                </a:lnTo>
                <a:lnTo>
                  <a:pt x="1767" y="2494"/>
                </a:lnTo>
                <a:lnTo>
                  <a:pt x="2523" y="2494"/>
                </a:lnTo>
                <a:close/>
                <a:moveTo>
                  <a:pt x="756" y="2334"/>
                </a:moveTo>
                <a:lnTo>
                  <a:pt x="2712" y="389"/>
                </a:lnTo>
                <a:lnTo>
                  <a:pt x="4668" y="2334"/>
                </a:lnTo>
                <a:lnTo>
                  <a:pt x="4535" y="2466"/>
                </a:lnTo>
                <a:lnTo>
                  <a:pt x="4224" y="2156"/>
                </a:lnTo>
                <a:lnTo>
                  <a:pt x="4224" y="4006"/>
                </a:lnTo>
                <a:lnTo>
                  <a:pt x="3846" y="4006"/>
                </a:lnTo>
                <a:lnTo>
                  <a:pt x="3846" y="2305"/>
                </a:lnTo>
                <a:lnTo>
                  <a:pt x="2901" y="2305"/>
                </a:lnTo>
                <a:lnTo>
                  <a:pt x="2901" y="4006"/>
                </a:lnTo>
                <a:lnTo>
                  <a:pt x="1200" y="4006"/>
                </a:lnTo>
                <a:lnTo>
                  <a:pt x="1200" y="2156"/>
                </a:lnTo>
                <a:lnTo>
                  <a:pt x="889" y="2466"/>
                </a:lnTo>
                <a:lnTo>
                  <a:pt x="756" y="2334"/>
                </a:lnTo>
                <a:close/>
                <a:moveTo>
                  <a:pt x="4980" y="2376"/>
                </a:moveTo>
                <a:lnTo>
                  <a:pt x="4980" y="1871"/>
                </a:lnTo>
                <a:lnTo>
                  <a:pt x="5291" y="2182"/>
                </a:lnTo>
                <a:lnTo>
                  <a:pt x="5424" y="2050"/>
                </a:lnTo>
                <a:lnTo>
                  <a:pt x="3562" y="189"/>
                </a:lnTo>
                <a:lnTo>
                  <a:pt x="3170" y="578"/>
                </a:lnTo>
                <a:lnTo>
                  <a:pt x="4980" y="2376"/>
                </a:lnTo>
                <a:close/>
                <a:moveTo>
                  <a:pt x="1011" y="3250"/>
                </a:moveTo>
                <a:lnTo>
                  <a:pt x="445" y="3250"/>
                </a:lnTo>
                <a:lnTo>
                  <a:pt x="445" y="2421"/>
                </a:lnTo>
                <a:lnTo>
                  <a:pt x="822" y="2799"/>
                </a:lnTo>
                <a:lnTo>
                  <a:pt x="1011" y="2610"/>
                </a:lnTo>
                <a:lnTo>
                  <a:pt x="1011" y="3250"/>
                </a:lnTo>
                <a:close/>
                <a:moveTo>
                  <a:pt x="445" y="2376"/>
                </a:moveTo>
                <a:lnTo>
                  <a:pt x="445" y="1587"/>
                </a:lnTo>
                <a:lnTo>
                  <a:pt x="133" y="1899"/>
                </a:lnTo>
                <a:lnTo>
                  <a:pt x="0" y="1767"/>
                </a:lnTo>
                <a:lnTo>
                  <a:pt x="1767" y="0"/>
                </a:lnTo>
                <a:lnTo>
                  <a:pt x="2301" y="531"/>
                </a:lnTo>
                <a:lnTo>
                  <a:pt x="445" y="237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4" name="Freeform 31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1293850" y="3993531"/>
            <a:ext cx="415040" cy="635670"/>
          </a:xfrm>
          <a:custGeom>
            <a:avLst/>
            <a:gdLst>
              <a:gd name="T0" fmla="*/ 400 w 1280"/>
              <a:gd name="T1" fmla="*/ 0 h 1960"/>
              <a:gd name="T2" fmla="*/ 880 w 1280"/>
              <a:gd name="T3" fmla="*/ 0 h 1960"/>
              <a:gd name="T4" fmla="*/ 1280 w 1280"/>
              <a:gd name="T5" fmla="*/ 400 h 1960"/>
              <a:gd name="T6" fmla="*/ 1280 w 1280"/>
              <a:gd name="T7" fmla="*/ 1320 h 1960"/>
              <a:gd name="T8" fmla="*/ 640 w 1280"/>
              <a:gd name="T9" fmla="*/ 1960 h 1960"/>
              <a:gd name="T10" fmla="*/ 0 w 1280"/>
              <a:gd name="T11" fmla="*/ 1320 h 1960"/>
              <a:gd name="T12" fmla="*/ 0 w 1280"/>
              <a:gd name="T13" fmla="*/ 400 h 1960"/>
              <a:gd name="T14" fmla="*/ 400 w 1280"/>
              <a:gd name="T15" fmla="*/ 0 h 1960"/>
              <a:gd name="T16" fmla="*/ 640 w 1280"/>
              <a:gd name="T17" fmla="*/ 160 h 1960"/>
              <a:gd name="T18" fmla="*/ 560 w 1280"/>
              <a:gd name="T19" fmla="*/ 240 h 1960"/>
              <a:gd name="T20" fmla="*/ 560 w 1280"/>
              <a:gd name="T21" fmla="*/ 480 h 1960"/>
              <a:gd name="T22" fmla="*/ 640 w 1280"/>
              <a:gd name="T23" fmla="*/ 560 h 1960"/>
              <a:gd name="T24" fmla="*/ 720 w 1280"/>
              <a:gd name="T25" fmla="*/ 480 h 1960"/>
              <a:gd name="T26" fmla="*/ 720 w 1280"/>
              <a:gd name="T27" fmla="*/ 240 h 1960"/>
              <a:gd name="T28" fmla="*/ 640 w 1280"/>
              <a:gd name="T29" fmla="*/ 160 h 1960"/>
              <a:gd name="T30" fmla="*/ 80 w 1280"/>
              <a:gd name="T31" fmla="*/ 640 h 1960"/>
              <a:gd name="T32" fmla="*/ 80 w 1280"/>
              <a:gd name="T33" fmla="*/ 720 h 1960"/>
              <a:gd name="T34" fmla="*/ 1200 w 1280"/>
              <a:gd name="T35" fmla="*/ 720 h 1960"/>
              <a:gd name="T36" fmla="*/ 1200 w 1280"/>
              <a:gd name="T37" fmla="*/ 640 h 1960"/>
              <a:gd name="T38" fmla="*/ 80 w 1280"/>
              <a:gd name="T39" fmla="*/ 640 h 1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80" h="1960">
                <a:moveTo>
                  <a:pt x="400" y="0"/>
                </a:moveTo>
                <a:cubicBezTo>
                  <a:pt x="880" y="0"/>
                  <a:pt x="880" y="0"/>
                  <a:pt x="880" y="0"/>
                </a:cubicBezTo>
                <a:cubicBezTo>
                  <a:pt x="1101" y="0"/>
                  <a:pt x="1280" y="179"/>
                  <a:pt x="1280" y="400"/>
                </a:cubicBezTo>
                <a:cubicBezTo>
                  <a:pt x="1280" y="1320"/>
                  <a:pt x="1280" y="1320"/>
                  <a:pt x="1280" y="1320"/>
                </a:cubicBezTo>
                <a:cubicBezTo>
                  <a:pt x="1280" y="1674"/>
                  <a:pt x="994" y="1960"/>
                  <a:pt x="640" y="1960"/>
                </a:cubicBezTo>
                <a:cubicBezTo>
                  <a:pt x="286" y="1960"/>
                  <a:pt x="0" y="1674"/>
                  <a:pt x="0" y="1320"/>
                </a:cubicBezTo>
                <a:cubicBezTo>
                  <a:pt x="0" y="400"/>
                  <a:pt x="0" y="400"/>
                  <a:pt x="0" y="400"/>
                </a:cubicBezTo>
                <a:cubicBezTo>
                  <a:pt x="0" y="179"/>
                  <a:pt x="179" y="0"/>
                  <a:pt x="400" y="0"/>
                </a:cubicBezTo>
                <a:close/>
                <a:moveTo>
                  <a:pt x="640" y="160"/>
                </a:moveTo>
                <a:cubicBezTo>
                  <a:pt x="596" y="160"/>
                  <a:pt x="560" y="196"/>
                  <a:pt x="560" y="240"/>
                </a:cubicBezTo>
                <a:cubicBezTo>
                  <a:pt x="560" y="480"/>
                  <a:pt x="560" y="480"/>
                  <a:pt x="560" y="480"/>
                </a:cubicBezTo>
                <a:cubicBezTo>
                  <a:pt x="560" y="524"/>
                  <a:pt x="596" y="560"/>
                  <a:pt x="640" y="560"/>
                </a:cubicBezTo>
                <a:cubicBezTo>
                  <a:pt x="684" y="560"/>
                  <a:pt x="720" y="524"/>
                  <a:pt x="720" y="480"/>
                </a:cubicBezTo>
                <a:cubicBezTo>
                  <a:pt x="720" y="240"/>
                  <a:pt x="720" y="240"/>
                  <a:pt x="720" y="240"/>
                </a:cubicBezTo>
                <a:cubicBezTo>
                  <a:pt x="720" y="196"/>
                  <a:pt x="684" y="160"/>
                  <a:pt x="640" y="160"/>
                </a:cubicBezTo>
                <a:close/>
                <a:moveTo>
                  <a:pt x="80" y="640"/>
                </a:moveTo>
                <a:cubicBezTo>
                  <a:pt x="80" y="720"/>
                  <a:pt x="80" y="720"/>
                  <a:pt x="80" y="720"/>
                </a:cubicBezTo>
                <a:cubicBezTo>
                  <a:pt x="1200" y="720"/>
                  <a:pt x="1200" y="720"/>
                  <a:pt x="1200" y="720"/>
                </a:cubicBezTo>
                <a:cubicBezTo>
                  <a:pt x="1200" y="640"/>
                  <a:pt x="1200" y="640"/>
                  <a:pt x="1200" y="640"/>
                </a:cubicBezTo>
                <a:cubicBezTo>
                  <a:pt x="827" y="640"/>
                  <a:pt x="453" y="640"/>
                  <a:pt x="80" y="64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5" name="Freeform 187"/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2661549" y="3956342"/>
            <a:ext cx="809687" cy="691725"/>
          </a:xfrm>
          <a:custGeom>
            <a:avLst/>
            <a:gdLst>
              <a:gd name="T0" fmla="*/ 210 w 2092"/>
              <a:gd name="T1" fmla="*/ 424 h 1787"/>
              <a:gd name="T2" fmla="*/ 228 w 2092"/>
              <a:gd name="T3" fmla="*/ 406 h 1787"/>
              <a:gd name="T4" fmla="*/ 1025 w 2092"/>
              <a:gd name="T5" fmla="*/ 8 h 1787"/>
              <a:gd name="T6" fmla="*/ 1067 w 2092"/>
              <a:gd name="T7" fmla="*/ 8 h 1787"/>
              <a:gd name="T8" fmla="*/ 1864 w 2092"/>
              <a:gd name="T9" fmla="*/ 406 h 1787"/>
              <a:gd name="T10" fmla="*/ 1883 w 2092"/>
              <a:gd name="T11" fmla="*/ 427 h 1787"/>
              <a:gd name="T12" fmla="*/ 2082 w 2092"/>
              <a:gd name="T13" fmla="*/ 824 h 1787"/>
              <a:gd name="T14" fmla="*/ 2064 w 2092"/>
              <a:gd name="T15" fmla="*/ 878 h 1787"/>
              <a:gd name="T16" fmla="*/ 1264 w 2092"/>
              <a:gd name="T17" fmla="*/ 1278 h 1787"/>
              <a:gd name="T18" fmla="*/ 1211 w 2092"/>
              <a:gd name="T19" fmla="*/ 1261 h 1787"/>
              <a:gd name="T20" fmla="*/ 1011 w 2092"/>
              <a:gd name="T21" fmla="*/ 901 h 1787"/>
              <a:gd name="T22" fmla="*/ 1006 w 2092"/>
              <a:gd name="T23" fmla="*/ 884 h 1787"/>
              <a:gd name="T24" fmla="*/ 1006 w 2092"/>
              <a:gd name="T25" fmla="*/ 1787 h 1787"/>
              <a:gd name="T26" fmla="*/ 228 w 2092"/>
              <a:gd name="T27" fmla="*/ 1398 h 1787"/>
              <a:gd name="T28" fmla="*/ 206 w 2092"/>
              <a:gd name="T29" fmla="*/ 1362 h 1787"/>
              <a:gd name="T30" fmla="*/ 206 w 2092"/>
              <a:gd name="T31" fmla="*/ 611 h 1787"/>
              <a:gd name="T32" fmla="*/ 126 w 2092"/>
              <a:gd name="T33" fmla="*/ 769 h 1787"/>
              <a:gd name="T34" fmla="*/ 126 w 2092"/>
              <a:gd name="T35" fmla="*/ 846 h 1787"/>
              <a:gd name="T36" fmla="*/ 64 w 2092"/>
              <a:gd name="T37" fmla="*/ 878 h 1787"/>
              <a:gd name="T38" fmla="*/ 28 w 2092"/>
              <a:gd name="T39" fmla="*/ 878 h 1787"/>
              <a:gd name="T40" fmla="*/ 10 w 2092"/>
              <a:gd name="T41" fmla="*/ 824 h 1787"/>
              <a:gd name="T42" fmla="*/ 210 w 2092"/>
              <a:gd name="T43" fmla="*/ 424 h 1787"/>
              <a:gd name="T44" fmla="*/ 295 w 2092"/>
              <a:gd name="T45" fmla="*/ 462 h 1787"/>
              <a:gd name="T46" fmla="*/ 1046 w 2092"/>
              <a:gd name="T47" fmla="*/ 838 h 1787"/>
              <a:gd name="T48" fmla="*/ 1797 w 2092"/>
              <a:gd name="T49" fmla="*/ 462 h 1787"/>
              <a:gd name="T50" fmla="*/ 1086 w 2092"/>
              <a:gd name="T51" fmla="*/ 106 h 1787"/>
              <a:gd name="T52" fmla="*/ 1086 w 2092"/>
              <a:gd name="T53" fmla="*/ 639 h 1787"/>
              <a:gd name="T54" fmla="*/ 1046 w 2092"/>
              <a:gd name="T55" fmla="*/ 659 h 1787"/>
              <a:gd name="T56" fmla="*/ 1006 w 2092"/>
              <a:gd name="T57" fmla="*/ 639 h 1787"/>
              <a:gd name="T58" fmla="*/ 1006 w 2092"/>
              <a:gd name="T59" fmla="*/ 106 h 1787"/>
              <a:gd name="T60" fmla="*/ 295 w 2092"/>
              <a:gd name="T61" fmla="*/ 462 h 1787"/>
              <a:gd name="T62" fmla="*/ 1886 w 2092"/>
              <a:gd name="T63" fmla="*/ 1056 h 1787"/>
              <a:gd name="T64" fmla="*/ 1886 w 2092"/>
              <a:gd name="T65" fmla="*/ 1362 h 1787"/>
              <a:gd name="T66" fmla="*/ 1860 w 2092"/>
              <a:gd name="T67" fmla="*/ 1399 h 1787"/>
              <a:gd name="T68" fmla="*/ 1086 w 2092"/>
              <a:gd name="T69" fmla="*/ 1786 h 1787"/>
              <a:gd name="T70" fmla="*/ 1086 w 2092"/>
              <a:gd name="T71" fmla="*/ 1200 h 1787"/>
              <a:gd name="T72" fmla="*/ 1141 w 2092"/>
              <a:gd name="T73" fmla="*/ 1300 h 1787"/>
              <a:gd name="T74" fmla="*/ 1300 w 2092"/>
              <a:gd name="T75" fmla="*/ 1349 h 1787"/>
              <a:gd name="T76" fmla="*/ 1886 w 2092"/>
              <a:gd name="T77" fmla="*/ 1056 h 17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92" h="1787">
                <a:moveTo>
                  <a:pt x="210" y="424"/>
                </a:moveTo>
                <a:cubicBezTo>
                  <a:pt x="214" y="416"/>
                  <a:pt x="220" y="410"/>
                  <a:pt x="228" y="406"/>
                </a:cubicBezTo>
                <a:cubicBezTo>
                  <a:pt x="1025" y="8"/>
                  <a:pt x="1025" y="8"/>
                  <a:pt x="1025" y="8"/>
                </a:cubicBezTo>
                <a:cubicBezTo>
                  <a:pt x="1038" y="0"/>
                  <a:pt x="1054" y="0"/>
                  <a:pt x="1067" y="8"/>
                </a:cubicBezTo>
                <a:cubicBezTo>
                  <a:pt x="1864" y="406"/>
                  <a:pt x="1864" y="406"/>
                  <a:pt x="1864" y="406"/>
                </a:cubicBezTo>
                <a:cubicBezTo>
                  <a:pt x="1872" y="411"/>
                  <a:pt x="1879" y="418"/>
                  <a:pt x="1883" y="427"/>
                </a:cubicBezTo>
                <a:cubicBezTo>
                  <a:pt x="2082" y="824"/>
                  <a:pt x="2082" y="824"/>
                  <a:pt x="2082" y="824"/>
                </a:cubicBezTo>
                <a:cubicBezTo>
                  <a:pt x="2092" y="844"/>
                  <a:pt x="2084" y="868"/>
                  <a:pt x="2064" y="878"/>
                </a:cubicBezTo>
                <a:cubicBezTo>
                  <a:pt x="1264" y="1278"/>
                  <a:pt x="1264" y="1278"/>
                  <a:pt x="1264" y="1278"/>
                </a:cubicBezTo>
                <a:cubicBezTo>
                  <a:pt x="1245" y="1287"/>
                  <a:pt x="1218" y="1273"/>
                  <a:pt x="1211" y="1261"/>
                </a:cubicBezTo>
                <a:cubicBezTo>
                  <a:pt x="1011" y="901"/>
                  <a:pt x="1011" y="901"/>
                  <a:pt x="1011" y="901"/>
                </a:cubicBezTo>
                <a:cubicBezTo>
                  <a:pt x="1008" y="896"/>
                  <a:pt x="1006" y="890"/>
                  <a:pt x="1006" y="884"/>
                </a:cubicBezTo>
                <a:cubicBezTo>
                  <a:pt x="1006" y="1787"/>
                  <a:pt x="1006" y="1787"/>
                  <a:pt x="1006" y="1787"/>
                </a:cubicBezTo>
                <a:cubicBezTo>
                  <a:pt x="228" y="1398"/>
                  <a:pt x="228" y="1398"/>
                  <a:pt x="228" y="1398"/>
                </a:cubicBezTo>
                <a:cubicBezTo>
                  <a:pt x="214" y="1391"/>
                  <a:pt x="206" y="1376"/>
                  <a:pt x="206" y="1362"/>
                </a:cubicBezTo>
                <a:cubicBezTo>
                  <a:pt x="206" y="611"/>
                  <a:pt x="206" y="611"/>
                  <a:pt x="206" y="611"/>
                </a:cubicBezTo>
                <a:cubicBezTo>
                  <a:pt x="126" y="769"/>
                  <a:pt x="126" y="769"/>
                  <a:pt x="126" y="769"/>
                </a:cubicBezTo>
                <a:cubicBezTo>
                  <a:pt x="126" y="846"/>
                  <a:pt x="126" y="846"/>
                  <a:pt x="126" y="846"/>
                </a:cubicBezTo>
                <a:cubicBezTo>
                  <a:pt x="64" y="878"/>
                  <a:pt x="64" y="878"/>
                  <a:pt x="64" y="878"/>
                </a:cubicBezTo>
                <a:cubicBezTo>
                  <a:pt x="53" y="883"/>
                  <a:pt x="40" y="884"/>
                  <a:pt x="28" y="878"/>
                </a:cubicBezTo>
                <a:cubicBezTo>
                  <a:pt x="8" y="868"/>
                  <a:pt x="0" y="844"/>
                  <a:pt x="10" y="824"/>
                </a:cubicBezTo>
                <a:lnTo>
                  <a:pt x="210" y="424"/>
                </a:lnTo>
                <a:close/>
                <a:moveTo>
                  <a:pt x="295" y="462"/>
                </a:moveTo>
                <a:cubicBezTo>
                  <a:pt x="1046" y="838"/>
                  <a:pt x="1046" y="838"/>
                  <a:pt x="1046" y="838"/>
                </a:cubicBezTo>
                <a:cubicBezTo>
                  <a:pt x="1319" y="702"/>
                  <a:pt x="1534" y="594"/>
                  <a:pt x="1797" y="462"/>
                </a:cubicBezTo>
                <a:cubicBezTo>
                  <a:pt x="1086" y="106"/>
                  <a:pt x="1086" y="106"/>
                  <a:pt x="1086" y="106"/>
                </a:cubicBezTo>
                <a:cubicBezTo>
                  <a:pt x="1086" y="639"/>
                  <a:pt x="1086" y="639"/>
                  <a:pt x="1086" y="639"/>
                </a:cubicBezTo>
                <a:cubicBezTo>
                  <a:pt x="1046" y="659"/>
                  <a:pt x="1046" y="659"/>
                  <a:pt x="1046" y="659"/>
                </a:cubicBezTo>
                <a:cubicBezTo>
                  <a:pt x="1006" y="639"/>
                  <a:pt x="1006" y="639"/>
                  <a:pt x="1006" y="639"/>
                </a:cubicBezTo>
                <a:cubicBezTo>
                  <a:pt x="1006" y="106"/>
                  <a:pt x="1006" y="106"/>
                  <a:pt x="1006" y="106"/>
                </a:cubicBezTo>
                <a:lnTo>
                  <a:pt x="295" y="462"/>
                </a:lnTo>
                <a:close/>
                <a:moveTo>
                  <a:pt x="1886" y="1056"/>
                </a:moveTo>
                <a:cubicBezTo>
                  <a:pt x="1886" y="1362"/>
                  <a:pt x="1886" y="1362"/>
                  <a:pt x="1886" y="1362"/>
                </a:cubicBezTo>
                <a:cubicBezTo>
                  <a:pt x="1886" y="1379"/>
                  <a:pt x="1875" y="1394"/>
                  <a:pt x="1860" y="1399"/>
                </a:cubicBezTo>
                <a:cubicBezTo>
                  <a:pt x="1086" y="1786"/>
                  <a:pt x="1086" y="1786"/>
                  <a:pt x="1086" y="1786"/>
                </a:cubicBezTo>
                <a:cubicBezTo>
                  <a:pt x="1086" y="1200"/>
                  <a:pt x="1086" y="1200"/>
                  <a:pt x="1086" y="1200"/>
                </a:cubicBezTo>
                <a:cubicBezTo>
                  <a:pt x="1141" y="1300"/>
                  <a:pt x="1141" y="1300"/>
                  <a:pt x="1141" y="1300"/>
                </a:cubicBezTo>
                <a:cubicBezTo>
                  <a:pt x="1170" y="1353"/>
                  <a:pt x="1246" y="1376"/>
                  <a:pt x="1300" y="1349"/>
                </a:cubicBezTo>
                <a:lnTo>
                  <a:pt x="1886" y="105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" name="Rechteck 79"/>
          <p:cNvSpPr/>
          <p:nvPr/>
        </p:nvSpPr>
        <p:spPr bwMode="gray">
          <a:xfrm>
            <a:off x="323580" y="4949628"/>
            <a:ext cx="7059675" cy="144044"/>
          </a:xfrm>
          <a:prstGeom prst="rect">
            <a:avLst/>
          </a:prstGeom>
          <a:noFill/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 smtClean="0">
                <a:solidFill>
                  <a:schemeClr val="bg2"/>
                </a:solidFill>
                <a:latin typeface="+mj-lt"/>
              </a:rPr>
              <a:t>© </a:t>
            </a:r>
            <a:r>
              <a:rPr lang="en-GB" sz="800" dirty="0" err="1" smtClean="0">
                <a:solidFill>
                  <a:schemeClr val="bg2"/>
                </a:solidFill>
                <a:latin typeface="+mj-lt"/>
              </a:rPr>
              <a:t>GfK</a:t>
            </a:r>
            <a:r>
              <a:rPr lang="en-GB" sz="800" dirty="0" smtClean="0">
                <a:solidFill>
                  <a:schemeClr val="bg2"/>
                </a:solidFill>
                <a:latin typeface="+mj-lt"/>
              </a:rPr>
              <a:t> 2015 </a:t>
            </a: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45717771"/>
              </p:ext>
            </p:extLst>
          </p:nvPr>
        </p:nvGraphicFramePr>
        <p:xfrm>
          <a:off x="2631281" y="1152257"/>
          <a:ext cx="3886200" cy="2136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Worksheet" r:id="rId9" imgW="2009710" imgH="1104838" progId="Excel.Sheet.12">
                  <p:embed/>
                </p:oleObj>
              </mc:Choice>
              <mc:Fallback>
                <p:oleObj name="Worksheet" r:id="rId9" imgW="2009710" imgH="1104838" progId="Excel.Sheet.12">
                  <p:embed/>
                  <p:pic>
                    <p:nvPicPr>
                      <p:cNvPr id="0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1281" y="1152257"/>
                        <a:ext cx="3886200" cy="21367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63561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53228" y="-762664"/>
            <a:ext cx="10654255" cy="5991747"/>
          </a:xfrm>
          <a:prstGeom prst="rect">
            <a:avLst/>
          </a:prstGeom>
        </p:spPr>
      </p:pic>
      <p:sp>
        <p:nvSpPr>
          <p:cNvPr id="11" name="Rechteck 13"/>
          <p:cNvSpPr/>
          <p:nvPr/>
        </p:nvSpPr>
        <p:spPr bwMode="gray">
          <a:xfrm>
            <a:off x="324559" y="4949608"/>
            <a:ext cx="7059675" cy="144044"/>
          </a:xfrm>
          <a:prstGeom prst="rect">
            <a:avLst/>
          </a:prstGeom>
          <a:noFill/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>
                <a:solidFill>
                  <a:srgbClr val="FFFFFF"/>
                </a:solidFill>
              </a:rPr>
              <a:t>© GfK 2014 </a:t>
            </a:r>
            <a:r>
              <a:rPr lang="en-GB" sz="800" dirty="0">
                <a:solidFill>
                  <a:srgbClr val="FFFFFF"/>
                </a:solidFill>
              </a:rPr>
              <a:t>Big Data in Market Research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39005" y="2356454"/>
            <a:ext cx="6916369" cy="985681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89313" y="195548"/>
            <a:ext cx="576379" cy="576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4474647" y="3442294"/>
            <a:ext cx="4743018" cy="1628174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54000"/>
                </a:schemeClr>
              </a:gs>
              <a:gs pos="43000">
                <a:schemeClr val="accent1">
                  <a:tint val="66000"/>
                  <a:satMod val="160000"/>
                  <a:alpha val="54000"/>
                </a:schemeClr>
              </a:gs>
              <a:gs pos="100000">
                <a:schemeClr val="accent1">
                  <a:tint val="23500"/>
                  <a:satMod val="160000"/>
                  <a:alpha val="54000"/>
                </a:schemeClr>
              </a:gs>
            </a:gsLst>
            <a:lin ang="5400000" scaled="0"/>
          </a:gradFill>
        </p:spPr>
        <p:txBody>
          <a:bodyPr wrap="square" lIns="91477" tIns="45738" rIns="91477" bIns="45738">
            <a:spAutoFit/>
          </a:bodyPr>
          <a:lstStyle/>
          <a:p>
            <a:pPr algn="ctr" defTabSz="489146">
              <a:lnSpc>
                <a:spcPct val="90000"/>
              </a:lnSpc>
              <a:spcAft>
                <a:spcPct val="35000"/>
              </a:spcAft>
            </a:pPr>
            <a:r>
              <a:rPr lang="en-GB" sz="2800" b="1" dirty="0" smtClean="0">
                <a:ln>
                  <a:solidFill>
                    <a:schemeClr val="tx1"/>
                  </a:solidFill>
                </a:ln>
                <a:solidFill>
                  <a:schemeClr val="tx2"/>
                </a:solidFill>
              </a:rPr>
              <a:t>Grocery: Digital Usage</a:t>
            </a:r>
            <a:endParaRPr lang="en-GB" sz="2800" b="1" dirty="0">
              <a:ln>
                <a:solidFill>
                  <a:schemeClr val="tx1"/>
                </a:solidFill>
              </a:ln>
              <a:solidFill>
                <a:schemeClr val="tx2"/>
              </a:solidFill>
            </a:endParaRPr>
          </a:p>
          <a:p>
            <a:pPr algn="ctr" defTabSz="489146">
              <a:lnSpc>
                <a:spcPct val="90000"/>
              </a:lnSpc>
              <a:spcAft>
                <a:spcPct val="35000"/>
              </a:spcAft>
            </a:pPr>
            <a:r>
              <a:rPr lang="en-GB" sz="24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Which age group is most likely to use Grocery Sites / Apps?</a:t>
            </a:r>
            <a:endParaRPr lang="en-GB" sz="24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3570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7.12.2011 15:26:33"/>
  <p:tag name="VCT-TEMPLATE" val="GfK Template for Office  2007-2010 16-9.potx"/>
  <p:tag name="VCTMASTER" val="GfK Master for PPT 2010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1_GfK Master for PPT 2010">
  <a:themeElements>
    <a:clrScheme name="GfK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92</Words>
  <Application>Microsoft Macintosh PowerPoint</Application>
  <PresentationFormat>Custom</PresentationFormat>
  <Paragraphs>139</Paragraphs>
  <Slides>18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Calibri</vt:lpstr>
      <vt:lpstr>Chalkboard</vt:lpstr>
      <vt:lpstr>Courier New</vt:lpstr>
      <vt:lpstr>Tahoma</vt:lpstr>
      <vt:lpstr>Wingdings</vt:lpstr>
      <vt:lpstr>1_GfK Master for PPT 2010</vt:lpstr>
      <vt:lpstr>think-cell Folie</vt:lpstr>
      <vt:lpstr>Worksheet</vt:lpstr>
      <vt:lpstr>SHOPPER BEHAVIORS ON RETAILER SITES AND APPS</vt:lpstr>
      <vt:lpstr>What impact does this have on the way we shop?</vt:lpstr>
      <vt:lpstr>PowerPoint Presentation</vt:lpstr>
      <vt:lpstr>Methodology</vt:lpstr>
      <vt:lpstr>5 notable trends that reflect the digital retail-engaged  mindset and priorities</vt:lpstr>
      <vt:lpstr>PowerPoint Presentation</vt:lpstr>
      <vt:lpstr>#1: Grocery behind other retailers in usage</vt:lpstr>
      <vt:lpstr>#1: However Grocery ranks third in visits per user</vt:lpstr>
      <vt:lpstr>PowerPoint Presentation</vt:lpstr>
      <vt:lpstr>#2: Age 60+ are 35% more likely to use Grocery digital properties than their average digital use across retail categories</vt:lpstr>
      <vt:lpstr>PowerPoint Presentation</vt:lpstr>
      <vt:lpstr>#3: More users of the web/browser version than the app version</vt:lpstr>
      <vt:lpstr>PowerPoint Presentation</vt:lpstr>
      <vt:lpstr>#4: Longer time spent on web versions, except for e-tailers</vt:lpstr>
      <vt:lpstr>PowerPoint Presentation</vt:lpstr>
      <vt:lpstr>#5: Longest time spent on the device with the biggest screen size</vt:lpstr>
      <vt:lpstr>PowerPoint Presentation</vt:lpstr>
      <vt:lpstr>Approaches in Commercial Roll-Out</vt:lpstr>
    </vt:vector>
  </TitlesOfParts>
  <Company>GfK NO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headline goes here, Tahoma 22 point, bold</dc:title>
  <dc:creator>Sabri, Laura (GfK NOP, UK)</dc:creator>
  <cp:lastModifiedBy>Microsoft Office User</cp:lastModifiedBy>
  <cp:revision>3523</cp:revision>
  <cp:lastPrinted>2011-08-25T18:27:51Z</cp:lastPrinted>
  <dcterms:modified xsi:type="dcterms:W3CDTF">2015-11-04T00:36:38Z</dcterms:modified>
</cp:coreProperties>
</file>